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2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4"/>
    <p:sldMasterId id="2147483825" r:id="rId5"/>
  </p:sldMasterIdLst>
  <p:notesMasterIdLst>
    <p:notesMasterId r:id="rId16"/>
  </p:notesMasterIdLst>
  <p:handoutMasterIdLst>
    <p:handoutMasterId r:id="rId17"/>
  </p:handoutMasterIdLst>
  <p:sldIdLst>
    <p:sldId id="601" r:id="rId6"/>
    <p:sldId id="3135" r:id="rId7"/>
    <p:sldId id="3084" r:id="rId8"/>
    <p:sldId id="3138" r:id="rId9"/>
    <p:sldId id="3139" r:id="rId10"/>
    <p:sldId id="769" r:id="rId11"/>
    <p:sldId id="781" r:id="rId12"/>
    <p:sldId id="782" r:id="rId13"/>
    <p:sldId id="3137" r:id="rId14"/>
    <p:sldId id="797" r:id="rId15"/>
  </p:sldIdLst>
  <p:sldSz cx="9144000" cy="5143500" type="screen16x9"/>
  <p:notesSz cx="6797675" cy="9928225"/>
  <p:custDataLst>
    <p:tags r:id="rId18"/>
  </p:custDataLst>
  <p:defaultTextStyle>
    <a:defPPr>
      <a:defRPr lang="en-GB"/>
    </a:defPPr>
    <a:lvl1pPr marL="0" indent="0" algn="l" rtl="0" eaLnBrk="1" fontAlgn="base" hangingPunct="1">
      <a:spcBef>
        <a:spcPct val="0"/>
      </a:spcBef>
      <a:spcAft>
        <a:spcPts val="600"/>
      </a:spcAft>
      <a:buClr>
        <a:schemeClr val="tx1"/>
      </a:buClr>
      <a:buFontTx/>
      <a:buNone/>
      <a:defRPr sz="1800" b="1">
        <a:solidFill>
          <a:schemeClr val="accent1"/>
        </a:solidFill>
        <a:latin typeface="+mn-lt"/>
        <a:ea typeface="+mn-ea"/>
        <a:cs typeface="+mn-cs"/>
      </a:defRPr>
    </a:lvl1pPr>
    <a:lvl2pPr marL="0" indent="0" algn="l" rtl="0" eaLnBrk="1" fontAlgn="base" hangingPunct="1">
      <a:spcBef>
        <a:spcPct val="0"/>
      </a:spcBef>
      <a:spcAft>
        <a:spcPts val="600"/>
      </a:spcAft>
      <a:buClr>
        <a:schemeClr val="tx1"/>
      </a:buClr>
      <a:buFontTx/>
      <a:buNone/>
      <a:defRPr sz="1800">
        <a:solidFill>
          <a:schemeClr val="tx1"/>
        </a:solidFill>
        <a:latin typeface="+mn-lt"/>
        <a:ea typeface="+mn-ea"/>
      </a:defRPr>
    </a:lvl2pPr>
    <a:lvl3pPr marL="27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Arial" panose="020B0604020202020204" pitchFamily="34" charset="0"/>
      <a:buChar char="•"/>
      <a:defRPr sz="1800">
        <a:solidFill>
          <a:schemeClr val="tx1"/>
        </a:solidFill>
        <a:latin typeface="+mn-lt"/>
        <a:ea typeface="+mn-ea"/>
      </a:defRPr>
    </a:lvl3pPr>
    <a:lvl4pPr marL="54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Arial" panose="020B0604020202020204" pitchFamily="34" charset="0"/>
      <a:buChar char="-"/>
      <a:defRPr sz="1800">
        <a:solidFill>
          <a:schemeClr val="tx1"/>
        </a:solidFill>
        <a:latin typeface="+mn-lt"/>
        <a:ea typeface="+mn-ea"/>
      </a:defRPr>
    </a:lvl4pPr>
    <a:lvl5pPr marL="81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Arial" panose="020B0604020202020204" pitchFamily="34" charset="0"/>
      <a:buChar char="◦"/>
      <a:defRPr sz="1800">
        <a:solidFill>
          <a:schemeClr val="tx1"/>
        </a:solidFill>
        <a:latin typeface="+mn-lt"/>
        <a:ea typeface="+mn-ea"/>
      </a:defRPr>
    </a:lvl5pPr>
    <a:lvl6pPr marL="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+mj-lt"/>
      <a:buAutoNum type="arabicPeriod"/>
      <a:defRPr sz="1800">
        <a:solidFill>
          <a:schemeClr val="tx1"/>
        </a:solidFill>
        <a:latin typeface="+mn-lt"/>
        <a:ea typeface="+mn-ea"/>
      </a:defRPr>
    </a:lvl6pPr>
    <a:lvl7pPr marL="54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+mj-lt"/>
      <a:buAutoNum type="alphaLcPeriod"/>
      <a:defRPr sz="1800">
        <a:solidFill>
          <a:schemeClr val="tx1"/>
        </a:solidFill>
        <a:latin typeface="+mn-lt"/>
        <a:ea typeface="+mn-ea"/>
      </a:defRPr>
    </a:lvl7pPr>
    <a:lvl8pPr marL="81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+mj-lt"/>
      <a:buAutoNum type="romanLcPeriod"/>
      <a:defRPr sz="1800">
        <a:solidFill>
          <a:schemeClr val="tx1"/>
        </a:solidFill>
        <a:latin typeface="+mn-lt"/>
        <a:ea typeface="+mn-ea"/>
      </a:defRPr>
    </a:lvl8pPr>
    <a:lvl9pPr marL="0" indent="0" algn="l" rtl="0" eaLnBrk="1" fontAlgn="base" hangingPunct="1">
      <a:spcBef>
        <a:spcPct val="0"/>
      </a:spcBef>
      <a:spcAft>
        <a:spcPts val="600"/>
      </a:spcAft>
      <a:buClr>
        <a:schemeClr val="tx1"/>
      </a:buClr>
      <a:buFontTx/>
      <a:buNone/>
      <a:defRPr sz="2400">
        <a:solidFill>
          <a:schemeClr val="accent2"/>
        </a:solidFill>
        <a:latin typeface="+mn-lt"/>
        <a:ea typeface="+mn-ea"/>
      </a:defRPr>
    </a:lvl9pPr>
  </p:defaultTextStyle>
  <p:extLst>
    <p:ext uri="{521415D9-36F7-43E2-AB2F-B90AF26B5E84}">
      <p14:sectionLst xmlns:p14="http://schemas.microsoft.com/office/powerpoint/2010/main">
        <p14:section name="Introduction &amp; Overview" id="{D41D1FEE-78B7-43D0-8A09-0ACC54A16F38}">
          <p14:sldIdLst>
            <p14:sldId id="601"/>
            <p14:sldId id="3135"/>
          </p14:sldIdLst>
        </p14:section>
        <p14:section name="GB" id="{8069AF66-2F47-4C4E-AEBF-16837B1986A1}">
          <p14:sldIdLst>
            <p14:sldId id="3084"/>
            <p14:sldId id="3138"/>
            <p14:sldId id="3139"/>
          </p14:sldIdLst>
        </p14:section>
        <p14:section name="Interconnectors" id="{A24A879A-D1A9-4DC0-A4E3-9CA5AA59BE2E}">
          <p14:sldIdLst>
            <p14:sldId id="769"/>
            <p14:sldId id="781"/>
            <p14:sldId id="782"/>
            <p14:sldId id="3137"/>
            <p14:sldId id="79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62" userDrawn="1">
          <p15:clr>
            <a:srgbClr val="A4A3A4"/>
          </p15:clr>
        </p15:guide>
        <p15:guide id="2" pos="748" userDrawn="1">
          <p15:clr>
            <a:srgbClr val="A4A3A4"/>
          </p15:clr>
        </p15:guide>
        <p15:guide id="3" orient="horz" pos="225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rah McGugan" initials="ZM" lastIdx="2" clrIdx="0">
    <p:extLst>
      <p:ext uri="{19B8F6BF-5375-455C-9EA6-DF929625EA0E}">
        <p15:presenceInfo xmlns:p15="http://schemas.microsoft.com/office/powerpoint/2012/main" userId="S-1-5-21-4161563473-2938609101-4020916863-124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79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E652BFF-DEBB-4E9D-8505-EBA4C9EBAE0B}" v="5293" dt="2021-04-16T12:42:03.930"/>
    <p1510:client id="{9DD99C57-18C5-4929-A9A6-91ACD4324AAD}" v="12776" dt="2021-04-16T09:40:24.151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97" autoAdjust="0"/>
    <p:restoredTop sz="89468" autoAdjust="0"/>
  </p:normalViewPr>
  <p:slideViewPr>
    <p:cSldViewPr snapToGrid="0">
      <p:cViewPr varScale="1">
        <p:scale>
          <a:sx n="86" d="100"/>
          <a:sy n="86" d="100"/>
        </p:scale>
        <p:origin x="208" y="52"/>
      </p:cViewPr>
      <p:guideLst>
        <p:guide orient="horz" pos="962"/>
        <p:guide pos="748"/>
        <p:guide orient="horz" pos="225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drigues, Tiago" userId="bb4f08b6-fa1b-4acb-8395-29d5b9651b11" providerId="ADAL" clId="{9DD99C57-18C5-4929-A9A6-91ACD4324AAD}"/>
    <pc:docChg chg="undo redo custSel addSld delSld modSld modSection">
      <pc:chgData name="Rodrigues, Tiago" userId="bb4f08b6-fa1b-4acb-8395-29d5b9651b11" providerId="ADAL" clId="{9DD99C57-18C5-4929-A9A6-91ACD4324AAD}" dt="2021-04-16T09:40:23.591" v="3782" actId="20577"/>
      <pc:docMkLst>
        <pc:docMk/>
      </pc:docMkLst>
      <pc:sldChg chg="modSp mod">
        <pc:chgData name="Rodrigues, Tiago" userId="bb4f08b6-fa1b-4acb-8395-29d5b9651b11" providerId="ADAL" clId="{9DD99C57-18C5-4929-A9A6-91ACD4324AAD}" dt="2021-04-16T09:40:23.591" v="3782" actId="20577"/>
        <pc:sldMkLst>
          <pc:docMk/>
          <pc:sldMk cId="2075377627" sldId="3084"/>
        </pc:sldMkLst>
        <pc:spChg chg="mod">
          <ac:chgData name="Rodrigues, Tiago" userId="bb4f08b6-fa1b-4acb-8395-29d5b9651b11" providerId="ADAL" clId="{9DD99C57-18C5-4929-A9A6-91ACD4324AAD}" dt="2021-04-15T16:44:48.612" v="53" actId="20577"/>
          <ac:spMkLst>
            <pc:docMk/>
            <pc:sldMk cId="2075377627" sldId="3084"/>
            <ac:spMk id="34" creationId="{87632584-0855-4ACD-86B7-930E393E9373}"/>
          </ac:spMkLst>
        </pc:spChg>
        <pc:spChg chg="mod">
          <ac:chgData name="Rodrigues, Tiago" userId="bb4f08b6-fa1b-4acb-8395-29d5b9651b11" providerId="ADAL" clId="{9DD99C57-18C5-4929-A9A6-91ACD4324AAD}" dt="2021-04-16T09:40:23.591" v="3782" actId="20577"/>
          <ac:spMkLst>
            <pc:docMk/>
            <pc:sldMk cId="2075377627" sldId="3084"/>
            <ac:spMk id="157" creationId="{96FFD67A-0D84-49B9-A4B0-24B9212D0A2E}"/>
          </ac:spMkLst>
        </pc:spChg>
      </pc:sldChg>
      <pc:sldChg chg="modSp mod">
        <pc:chgData name="Rodrigues, Tiago" userId="bb4f08b6-fa1b-4acb-8395-29d5b9651b11" providerId="ADAL" clId="{9DD99C57-18C5-4929-A9A6-91ACD4324AAD}" dt="2021-04-15T16:39:24.156" v="8" actId="20577"/>
        <pc:sldMkLst>
          <pc:docMk/>
          <pc:sldMk cId="3492765537" sldId="3137"/>
        </pc:sldMkLst>
        <pc:spChg chg="mod">
          <ac:chgData name="Rodrigues, Tiago" userId="bb4f08b6-fa1b-4acb-8395-29d5b9651b11" providerId="ADAL" clId="{9DD99C57-18C5-4929-A9A6-91ACD4324AAD}" dt="2021-04-15T16:39:24.156" v="8" actId="20577"/>
          <ac:spMkLst>
            <pc:docMk/>
            <pc:sldMk cId="3492765537" sldId="3137"/>
            <ac:spMk id="13" creationId="{52318142-C4EE-4361-ACD8-3747FF6D7ED9}"/>
          </ac:spMkLst>
        </pc:spChg>
      </pc:sldChg>
      <pc:sldChg chg="addSp delSp modSp new add mod">
        <pc:chgData name="Rodrigues, Tiago" userId="bb4f08b6-fa1b-4acb-8395-29d5b9651b11" providerId="ADAL" clId="{9DD99C57-18C5-4929-A9A6-91ACD4324AAD}" dt="2021-04-15T17:39:32.587" v="2542"/>
        <pc:sldMkLst>
          <pc:docMk/>
          <pc:sldMk cId="2782114707" sldId="3138"/>
        </pc:sldMkLst>
        <pc:spChg chg="del">
          <ac:chgData name="Rodrigues, Tiago" userId="bb4f08b6-fa1b-4acb-8395-29d5b9651b11" providerId="ADAL" clId="{9DD99C57-18C5-4929-A9A6-91ACD4324AAD}" dt="2021-04-15T17:03:31.023" v="474" actId="478"/>
          <ac:spMkLst>
            <pc:docMk/>
            <pc:sldMk cId="2782114707" sldId="3138"/>
            <ac:spMk id="2" creationId="{8E3CA785-DC8D-4384-A0CD-F087197BD208}"/>
          </ac:spMkLst>
        </pc:spChg>
        <pc:spChg chg="del">
          <ac:chgData name="Rodrigues, Tiago" userId="bb4f08b6-fa1b-4acb-8395-29d5b9651b11" providerId="ADAL" clId="{9DD99C57-18C5-4929-A9A6-91ACD4324AAD}" dt="2021-04-15T17:03:04.477" v="56" actId="478"/>
          <ac:spMkLst>
            <pc:docMk/>
            <pc:sldMk cId="2782114707" sldId="3138"/>
            <ac:spMk id="3" creationId="{E66CC4D9-DF24-412F-A342-41B5CFAA8460}"/>
          </ac:spMkLst>
        </pc:spChg>
        <pc:spChg chg="add del mod">
          <ac:chgData name="Rodrigues, Tiago" userId="bb4f08b6-fa1b-4acb-8395-29d5b9651b11" providerId="ADAL" clId="{9DD99C57-18C5-4929-A9A6-91ACD4324AAD}" dt="2021-04-15T17:31:25.594" v="1552" actId="478"/>
          <ac:spMkLst>
            <pc:docMk/>
            <pc:sldMk cId="2782114707" sldId="3138"/>
            <ac:spMk id="4" creationId="{5D037EB8-353A-4EBA-9BC3-5C1181A27182}"/>
          </ac:spMkLst>
        </pc:spChg>
        <pc:spChg chg="add mod">
          <ac:chgData name="Rodrigues, Tiago" userId="bb4f08b6-fa1b-4acb-8395-29d5b9651b11" providerId="ADAL" clId="{9DD99C57-18C5-4929-A9A6-91ACD4324AAD}" dt="2021-04-15T17:39:32.569" v="2495" actId="113"/>
          <ac:spMkLst>
            <pc:docMk/>
            <pc:sldMk cId="2782114707" sldId="3138"/>
            <ac:spMk id="6" creationId="{620018B9-5E00-4EF4-B452-6B4F0A2C4A99}"/>
          </ac:spMkLst>
        </pc:spChg>
        <pc:spChg chg="add del mod modVis">
          <ac:chgData name="Rodrigues, Tiago" userId="bb4f08b6-fa1b-4acb-8395-29d5b9651b11" providerId="ADAL" clId="{9DD99C57-18C5-4929-A9A6-91ACD4324AAD}" dt="2021-04-15T17:03:13.043" v="114"/>
          <ac:spMkLst>
            <pc:docMk/>
            <pc:sldMk cId="2782114707" sldId="3138"/>
            <ac:spMk id="7" creationId="{794D2C03-FFB7-4FE4-AF18-94BEDA1D19E6}"/>
          </ac:spMkLst>
        </pc:spChg>
        <pc:spChg chg="add del mod modVis">
          <ac:chgData name="Rodrigues, Tiago" userId="bb4f08b6-fa1b-4acb-8395-29d5b9651b11" providerId="ADAL" clId="{9DD99C57-18C5-4929-A9A6-91ACD4324AAD}" dt="2021-04-15T17:03:14.666" v="157"/>
          <ac:spMkLst>
            <pc:docMk/>
            <pc:sldMk cId="2782114707" sldId="3138"/>
            <ac:spMk id="8" creationId="{0C0BF520-3383-4625-9F1C-9B2ED24FD96A}"/>
          </ac:spMkLst>
        </pc:spChg>
        <pc:spChg chg="add del mod modVis">
          <ac:chgData name="Rodrigues, Tiago" userId="bb4f08b6-fa1b-4acb-8395-29d5b9651b11" providerId="ADAL" clId="{9DD99C57-18C5-4929-A9A6-91ACD4324AAD}" dt="2021-04-15T17:03:17.107" v="212"/>
          <ac:spMkLst>
            <pc:docMk/>
            <pc:sldMk cId="2782114707" sldId="3138"/>
            <ac:spMk id="9" creationId="{F968750E-060A-43F6-A1CB-A880B49ADABA}"/>
          </ac:spMkLst>
        </pc:spChg>
        <pc:spChg chg="add del mod modVis">
          <ac:chgData name="Rodrigues, Tiago" userId="bb4f08b6-fa1b-4acb-8395-29d5b9651b11" providerId="ADAL" clId="{9DD99C57-18C5-4929-A9A6-91ACD4324AAD}" dt="2021-04-15T17:03:17.871" v="253"/>
          <ac:spMkLst>
            <pc:docMk/>
            <pc:sldMk cId="2782114707" sldId="3138"/>
            <ac:spMk id="10" creationId="{72B3A317-AC6A-4ABB-B973-66C12BFF8FFA}"/>
          </ac:spMkLst>
        </pc:spChg>
        <pc:spChg chg="add del mod modVis">
          <ac:chgData name="Rodrigues, Tiago" userId="bb4f08b6-fa1b-4acb-8395-29d5b9651b11" providerId="ADAL" clId="{9DD99C57-18C5-4929-A9A6-91ACD4324AAD}" dt="2021-04-15T17:03:20.258" v="298"/>
          <ac:spMkLst>
            <pc:docMk/>
            <pc:sldMk cId="2782114707" sldId="3138"/>
            <ac:spMk id="11" creationId="{25116E60-9027-45FB-B3E8-4608750B89F9}"/>
          </ac:spMkLst>
        </pc:spChg>
        <pc:spChg chg="add del mod modVis">
          <ac:chgData name="Rodrigues, Tiago" userId="bb4f08b6-fa1b-4acb-8395-29d5b9651b11" providerId="ADAL" clId="{9DD99C57-18C5-4929-A9A6-91ACD4324AAD}" dt="2021-04-15T17:03:21.988" v="343"/>
          <ac:spMkLst>
            <pc:docMk/>
            <pc:sldMk cId="2782114707" sldId="3138"/>
            <ac:spMk id="12" creationId="{11805B0D-4C42-452A-80A8-966AD6E93919}"/>
          </ac:spMkLst>
        </pc:spChg>
        <pc:spChg chg="add del mod modVis">
          <ac:chgData name="Rodrigues, Tiago" userId="bb4f08b6-fa1b-4acb-8395-29d5b9651b11" providerId="ADAL" clId="{9DD99C57-18C5-4929-A9A6-91ACD4324AAD}" dt="2021-04-15T17:03:23.199" v="389"/>
          <ac:spMkLst>
            <pc:docMk/>
            <pc:sldMk cId="2782114707" sldId="3138"/>
            <ac:spMk id="13" creationId="{E8D460F4-13BD-4812-B74B-017FF46550EE}"/>
          </ac:spMkLst>
        </pc:spChg>
        <pc:spChg chg="add del mod modVis">
          <ac:chgData name="Rodrigues, Tiago" userId="bb4f08b6-fa1b-4acb-8395-29d5b9651b11" providerId="ADAL" clId="{9DD99C57-18C5-4929-A9A6-91ACD4324AAD}" dt="2021-04-15T17:03:24.223" v="430"/>
          <ac:spMkLst>
            <pc:docMk/>
            <pc:sldMk cId="2782114707" sldId="3138"/>
            <ac:spMk id="14" creationId="{94EE064A-783F-4230-80DD-6ACA9DC6B3A2}"/>
          </ac:spMkLst>
        </pc:spChg>
        <pc:spChg chg="add del mod modVis">
          <ac:chgData name="Rodrigues, Tiago" userId="bb4f08b6-fa1b-4acb-8395-29d5b9651b11" providerId="ADAL" clId="{9DD99C57-18C5-4929-A9A6-91ACD4324AAD}" dt="2021-04-15T17:03:25.297" v="471"/>
          <ac:spMkLst>
            <pc:docMk/>
            <pc:sldMk cId="2782114707" sldId="3138"/>
            <ac:spMk id="15" creationId="{F5F6A5F1-6B2F-4D44-896D-ABD683FCE9CE}"/>
          </ac:spMkLst>
        </pc:spChg>
        <pc:spChg chg="add mod topLvl">
          <ac:chgData name="Rodrigues, Tiago" userId="bb4f08b6-fa1b-4acb-8395-29d5b9651b11" providerId="ADAL" clId="{9DD99C57-18C5-4929-A9A6-91ACD4324AAD}" dt="2021-04-15T17:33:27.013" v="1600" actId="1076"/>
          <ac:spMkLst>
            <pc:docMk/>
            <pc:sldMk cId="2782114707" sldId="3138"/>
            <ac:spMk id="31" creationId="{6E2AF096-D285-47EC-A383-B83D9219A55F}"/>
          </ac:spMkLst>
        </pc:spChg>
        <pc:spChg chg="add mod">
          <ac:chgData name="Rodrigues, Tiago" userId="bb4f08b6-fa1b-4acb-8395-29d5b9651b11" providerId="ADAL" clId="{9DD99C57-18C5-4929-A9A6-91ACD4324AAD}" dt="2021-04-15T17:19:56.181" v="515" actId="571"/>
          <ac:spMkLst>
            <pc:docMk/>
            <pc:sldMk cId="2782114707" sldId="3138"/>
            <ac:spMk id="32" creationId="{6F126D7E-ECCD-4031-AFD4-5B922D38DBAC}"/>
          </ac:spMkLst>
        </pc:spChg>
        <pc:spChg chg="add mod topLvl">
          <ac:chgData name="Rodrigues, Tiago" userId="bb4f08b6-fa1b-4acb-8395-29d5b9651b11" providerId="ADAL" clId="{9DD99C57-18C5-4929-A9A6-91ACD4324AAD}" dt="2021-04-15T17:33:27.013" v="1600" actId="1076"/>
          <ac:spMkLst>
            <pc:docMk/>
            <pc:sldMk cId="2782114707" sldId="3138"/>
            <ac:spMk id="33" creationId="{64C3CB55-9B98-401D-BA7E-DC5BC7E8160B}"/>
          </ac:spMkLst>
        </pc:spChg>
        <pc:spChg chg="add mod topLvl">
          <ac:chgData name="Rodrigues, Tiago" userId="bb4f08b6-fa1b-4acb-8395-29d5b9651b11" providerId="ADAL" clId="{9DD99C57-18C5-4929-A9A6-91ACD4324AAD}" dt="2021-04-15T17:33:27.013" v="1600" actId="1076"/>
          <ac:spMkLst>
            <pc:docMk/>
            <pc:sldMk cId="2782114707" sldId="3138"/>
            <ac:spMk id="34" creationId="{A6846975-8566-4759-9642-04D81C0D0102}"/>
          </ac:spMkLst>
        </pc:spChg>
        <pc:spChg chg="add mod topLvl">
          <ac:chgData name="Rodrigues, Tiago" userId="bb4f08b6-fa1b-4acb-8395-29d5b9651b11" providerId="ADAL" clId="{9DD99C57-18C5-4929-A9A6-91ACD4324AAD}" dt="2021-04-15T17:33:27.013" v="1600" actId="1076"/>
          <ac:spMkLst>
            <pc:docMk/>
            <pc:sldMk cId="2782114707" sldId="3138"/>
            <ac:spMk id="35" creationId="{5EB058A9-8DBD-4078-814D-57FE8E14D7A7}"/>
          </ac:spMkLst>
        </pc:spChg>
        <pc:spChg chg="add mod topLvl">
          <ac:chgData name="Rodrigues, Tiago" userId="bb4f08b6-fa1b-4acb-8395-29d5b9651b11" providerId="ADAL" clId="{9DD99C57-18C5-4929-A9A6-91ACD4324AAD}" dt="2021-04-15T17:33:27.013" v="1600" actId="1076"/>
          <ac:spMkLst>
            <pc:docMk/>
            <pc:sldMk cId="2782114707" sldId="3138"/>
            <ac:spMk id="37" creationId="{3C3669AF-517A-418E-A831-874916674434}"/>
          </ac:spMkLst>
        </pc:spChg>
        <pc:spChg chg="add del mod modVis">
          <ac:chgData name="Rodrigues, Tiago" userId="bb4f08b6-fa1b-4acb-8395-29d5b9651b11" providerId="ADAL" clId="{9DD99C57-18C5-4929-A9A6-91ACD4324AAD}" dt="2021-04-15T17:24:13.067" v="630"/>
          <ac:spMkLst>
            <pc:docMk/>
            <pc:sldMk cId="2782114707" sldId="3138"/>
            <ac:spMk id="54" creationId="{1221AB1E-606D-436F-810C-08AA9928DFC5}"/>
          </ac:spMkLst>
        </pc:spChg>
        <pc:spChg chg="add del mod modVis">
          <ac:chgData name="Rodrigues, Tiago" userId="bb4f08b6-fa1b-4acb-8395-29d5b9651b11" providerId="ADAL" clId="{9DD99C57-18C5-4929-A9A6-91ACD4324AAD}" dt="2021-04-15T17:24:14.881" v="675"/>
          <ac:spMkLst>
            <pc:docMk/>
            <pc:sldMk cId="2782114707" sldId="3138"/>
            <ac:spMk id="55" creationId="{414A6235-952C-41C5-9210-6F3992A58BC1}"/>
          </ac:spMkLst>
        </pc:spChg>
        <pc:spChg chg="add del mod modVis">
          <ac:chgData name="Rodrigues, Tiago" userId="bb4f08b6-fa1b-4acb-8395-29d5b9651b11" providerId="ADAL" clId="{9DD99C57-18C5-4929-A9A6-91ACD4324AAD}" dt="2021-04-15T17:24:18.025" v="731"/>
          <ac:spMkLst>
            <pc:docMk/>
            <pc:sldMk cId="2782114707" sldId="3138"/>
            <ac:spMk id="56" creationId="{3D924DB9-B940-4756-96D1-A7F1657B14D2}"/>
          </ac:spMkLst>
        </pc:spChg>
        <pc:spChg chg="add del mod modVis">
          <ac:chgData name="Rodrigues, Tiago" userId="bb4f08b6-fa1b-4acb-8395-29d5b9651b11" providerId="ADAL" clId="{9DD99C57-18C5-4929-A9A6-91ACD4324AAD}" dt="2021-04-15T17:24:21.758" v="774"/>
          <ac:spMkLst>
            <pc:docMk/>
            <pc:sldMk cId="2782114707" sldId="3138"/>
            <ac:spMk id="57" creationId="{AC006485-C498-4CC3-BA7B-988C736D2FDE}"/>
          </ac:spMkLst>
        </pc:spChg>
        <pc:spChg chg="add del mod modVis">
          <ac:chgData name="Rodrigues, Tiago" userId="bb4f08b6-fa1b-4acb-8395-29d5b9651b11" providerId="ADAL" clId="{9DD99C57-18C5-4929-A9A6-91ACD4324AAD}" dt="2021-04-15T17:24:22.412" v="816"/>
          <ac:spMkLst>
            <pc:docMk/>
            <pc:sldMk cId="2782114707" sldId="3138"/>
            <ac:spMk id="58" creationId="{3E1D444F-7DA0-42E1-B9BA-88AF1A1EEB2F}"/>
          </ac:spMkLst>
        </pc:spChg>
        <pc:spChg chg="add del mod modVis">
          <ac:chgData name="Rodrigues, Tiago" userId="bb4f08b6-fa1b-4acb-8395-29d5b9651b11" providerId="ADAL" clId="{9DD99C57-18C5-4929-A9A6-91ACD4324AAD}" dt="2021-04-15T17:24:23.597" v="862"/>
          <ac:spMkLst>
            <pc:docMk/>
            <pc:sldMk cId="2782114707" sldId="3138"/>
            <ac:spMk id="59" creationId="{7C992581-766E-4CD3-A876-810EF823C8DE}"/>
          </ac:spMkLst>
        </pc:spChg>
        <pc:spChg chg="add del mod modVis">
          <ac:chgData name="Rodrigues, Tiago" userId="bb4f08b6-fa1b-4acb-8395-29d5b9651b11" providerId="ADAL" clId="{9DD99C57-18C5-4929-A9A6-91ACD4324AAD}" dt="2021-04-15T17:24:29.615" v="929"/>
          <ac:spMkLst>
            <pc:docMk/>
            <pc:sldMk cId="2782114707" sldId="3138"/>
            <ac:spMk id="60" creationId="{2AF520A7-8467-4CC5-AEEB-A60EE371DA23}"/>
          </ac:spMkLst>
        </pc:spChg>
        <pc:spChg chg="add del mod modVis">
          <ac:chgData name="Rodrigues, Tiago" userId="bb4f08b6-fa1b-4acb-8395-29d5b9651b11" providerId="ADAL" clId="{9DD99C57-18C5-4929-A9A6-91ACD4324AAD}" dt="2021-04-15T17:24:34.063" v="987"/>
          <ac:spMkLst>
            <pc:docMk/>
            <pc:sldMk cId="2782114707" sldId="3138"/>
            <ac:spMk id="61" creationId="{1F718AD5-2604-4435-AAE2-AAD135EE4FB6}"/>
          </ac:spMkLst>
        </pc:spChg>
        <pc:spChg chg="add del mod modVis">
          <ac:chgData name="Rodrigues, Tiago" userId="bb4f08b6-fa1b-4acb-8395-29d5b9651b11" providerId="ADAL" clId="{9DD99C57-18C5-4929-A9A6-91ACD4324AAD}" dt="2021-04-15T17:24:34.862" v="1030"/>
          <ac:spMkLst>
            <pc:docMk/>
            <pc:sldMk cId="2782114707" sldId="3138"/>
            <ac:spMk id="62" creationId="{B30547ED-1861-4942-AB51-2D36FB520B6D}"/>
          </ac:spMkLst>
        </pc:spChg>
        <pc:spChg chg="add del mod modVis">
          <ac:chgData name="Rodrigues, Tiago" userId="bb4f08b6-fa1b-4acb-8395-29d5b9651b11" providerId="ADAL" clId="{9DD99C57-18C5-4929-A9A6-91ACD4324AAD}" dt="2021-04-15T17:24:36.379" v="1078"/>
          <ac:spMkLst>
            <pc:docMk/>
            <pc:sldMk cId="2782114707" sldId="3138"/>
            <ac:spMk id="63" creationId="{7AAA8EEB-305B-419F-B16B-5DEFEFB2851A}"/>
          </ac:spMkLst>
        </pc:spChg>
        <pc:spChg chg="add del mod modVis">
          <ac:chgData name="Rodrigues, Tiago" userId="bb4f08b6-fa1b-4acb-8395-29d5b9651b11" providerId="ADAL" clId="{9DD99C57-18C5-4929-A9A6-91ACD4324AAD}" dt="2021-04-15T17:24:40.404" v="1119"/>
          <ac:spMkLst>
            <pc:docMk/>
            <pc:sldMk cId="2782114707" sldId="3138"/>
            <ac:spMk id="64" creationId="{8D0BCBB0-15B4-4C3F-96FB-AEF5AB49D0F2}"/>
          </ac:spMkLst>
        </pc:spChg>
        <pc:spChg chg="add del mod modVis">
          <ac:chgData name="Rodrigues, Tiago" userId="bb4f08b6-fa1b-4acb-8395-29d5b9651b11" providerId="ADAL" clId="{9DD99C57-18C5-4929-A9A6-91ACD4324AAD}" dt="2021-04-15T17:24:43.245" v="1160"/>
          <ac:spMkLst>
            <pc:docMk/>
            <pc:sldMk cId="2782114707" sldId="3138"/>
            <ac:spMk id="65" creationId="{3350256F-357A-46D9-B994-112A59FEE146}"/>
          </ac:spMkLst>
        </pc:spChg>
        <pc:spChg chg="add del mod modVis">
          <ac:chgData name="Rodrigues, Tiago" userId="bb4f08b6-fa1b-4acb-8395-29d5b9651b11" providerId="ADAL" clId="{9DD99C57-18C5-4929-A9A6-91ACD4324AAD}" dt="2021-04-15T17:24:52.382" v="1207"/>
          <ac:spMkLst>
            <pc:docMk/>
            <pc:sldMk cId="2782114707" sldId="3138"/>
            <ac:spMk id="66" creationId="{B082F7D8-5B71-48EC-8EEE-B9A267671FBC}"/>
          </ac:spMkLst>
        </pc:spChg>
        <pc:spChg chg="add del mod modVis">
          <ac:chgData name="Rodrigues, Tiago" userId="bb4f08b6-fa1b-4acb-8395-29d5b9651b11" providerId="ADAL" clId="{9DD99C57-18C5-4929-A9A6-91ACD4324AAD}" dt="2021-04-15T17:24:53.500" v="1251"/>
          <ac:spMkLst>
            <pc:docMk/>
            <pc:sldMk cId="2782114707" sldId="3138"/>
            <ac:spMk id="67" creationId="{BA397DDD-7701-4C80-9654-214B75481130}"/>
          </ac:spMkLst>
        </pc:spChg>
        <pc:spChg chg="add del mod modVis">
          <ac:chgData name="Rodrigues, Tiago" userId="bb4f08b6-fa1b-4acb-8395-29d5b9651b11" providerId="ADAL" clId="{9DD99C57-18C5-4929-A9A6-91ACD4324AAD}" dt="2021-04-15T17:24:55.016" v="1298"/>
          <ac:spMkLst>
            <pc:docMk/>
            <pc:sldMk cId="2782114707" sldId="3138"/>
            <ac:spMk id="68" creationId="{0468188A-EEE4-4727-8ED5-C2D0065F3F13}"/>
          </ac:spMkLst>
        </pc:spChg>
        <pc:spChg chg="add del mod modVis">
          <ac:chgData name="Rodrigues, Tiago" userId="bb4f08b6-fa1b-4acb-8395-29d5b9651b11" providerId="ADAL" clId="{9DD99C57-18C5-4929-A9A6-91ACD4324AAD}" dt="2021-04-15T17:25:03.190" v="1364"/>
          <ac:spMkLst>
            <pc:docMk/>
            <pc:sldMk cId="2782114707" sldId="3138"/>
            <ac:spMk id="69" creationId="{E19505B2-FC99-4870-8A60-EFB7CA21B585}"/>
          </ac:spMkLst>
        </pc:spChg>
        <pc:spChg chg="add mod">
          <ac:chgData name="Rodrigues, Tiago" userId="bb4f08b6-fa1b-4acb-8395-29d5b9651b11" providerId="ADAL" clId="{9DD99C57-18C5-4929-A9A6-91ACD4324AAD}" dt="2021-04-15T17:33:27.013" v="1600" actId="1076"/>
          <ac:spMkLst>
            <pc:docMk/>
            <pc:sldMk cId="2782114707" sldId="3138"/>
            <ac:spMk id="70" creationId="{EF7F992A-2A20-4641-891F-D617E616C384}"/>
          </ac:spMkLst>
        </pc:spChg>
        <pc:spChg chg="add mod">
          <ac:chgData name="Rodrigues, Tiago" userId="bb4f08b6-fa1b-4acb-8395-29d5b9651b11" providerId="ADAL" clId="{9DD99C57-18C5-4929-A9A6-91ACD4324AAD}" dt="2021-04-15T17:33:27.013" v="1600" actId="1076"/>
          <ac:spMkLst>
            <pc:docMk/>
            <pc:sldMk cId="2782114707" sldId="3138"/>
            <ac:spMk id="71" creationId="{DACFA0E4-2ED7-4824-966B-DE34184F4366}"/>
          </ac:spMkLst>
        </pc:spChg>
        <pc:spChg chg="add mod">
          <ac:chgData name="Rodrigues, Tiago" userId="bb4f08b6-fa1b-4acb-8395-29d5b9651b11" providerId="ADAL" clId="{9DD99C57-18C5-4929-A9A6-91ACD4324AAD}" dt="2021-04-15T17:33:27.013" v="1600" actId="1076"/>
          <ac:spMkLst>
            <pc:docMk/>
            <pc:sldMk cId="2782114707" sldId="3138"/>
            <ac:spMk id="72" creationId="{A52D643F-94D9-40E1-8821-9CD50C128D79}"/>
          </ac:spMkLst>
        </pc:spChg>
        <pc:spChg chg="add mod">
          <ac:chgData name="Rodrigues, Tiago" userId="bb4f08b6-fa1b-4acb-8395-29d5b9651b11" providerId="ADAL" clId="{9DD99C57-18C5-4929-A9A6-91ACD4324AAD}" dt="2021-04-15T17:33:27.013" v="1600" actId="1076"/>
          <ac:spMkLst>
            <pc:docMk/>
            <pc:sldMk cId="2782114707" sldId="3138"/>
            <ac:spMk id="73" creationId="{3C7A92F6-5792-4456-B4B2-5C3B455ECB10}"/>
          </ac:spMkLst>
        </pc:spChg>
        <pc:spChg chg="add mod">
          <ac:chgData name="Rodrigues, Tiago" userId="bb4f08b6-fa1b-4acb-8395-29d5b9651b11" providerId="ADAL" clId="{9DD99C57-18C5-4929-A9A6-91ACD4324AAD}" dt="2021-04-15T17:33:27.013" v="1600" actId="1076"/>
          <ac:spMkLst>
            <pc:docMk/>
            <pc:sldMk cId="2782114707" sldId="3138"/>
            <ac:spMk id="74" creationId="{C6823B94-120F-4FC6-B77A-C42EA71CC608}"/>
          </ac:spMkLst>
        </pc:spChg>
        <pc:spChg chg="add mod">
          <ac:chgData name="Rodrigues, Tiago" userId="bb4f08b6-fa1b-4acb-8395-29d5b9651b11" providerId="ADAL" clId="{9DD99C57-18C5-4929-A9A6-91ACD4324AAD}" dt="2021-04-15T17:33:27.013" v="1600" actId="1076"/>
          <ac:spMkLst>
            <pc:docMk/>
            <pc:sldMk cId="2782114707" sldId="3138"/>
            <ac:spMk id="75" creationId="{D3449C99-B289-4496-B36F-A57294E68748}"/>
          </ac:spMkLst>
        </pc:spChg>
        <pc:spChg chg="add del mod modVis">
          <ac:chgData name="Rodrigues, Tiago" userId="bb4f08b6-fa1b-4acb-8395-29d5b9651b11" providerId="ADAL" clId="{9DD99C57-18C5-4929-A9A6-91ACD4324AAD}" dt="2021-04-15T17:28:26.435" v="1512" actId="1076"/>
          <ac:spMkLst>
            <pc:docMk/>
            <pc:sldMk cId="2782114707" sldId="3138"/>
            <ac:spMk id="76" creationId="{81FAAEB6-ED33-40A1-8114-A8D5BA37BCBC}"/>
          </ac:spMkLst>
        </pc:spChg>
        <pc:spChg chg="add mod">
          <ac:chgData name="Rodrigues, Tiago" userId="bb4f08b6-fa1b-4acb-8395-29d5b9651b11" providerId="ADAL" clId="{9DD99C57-18C5-4929-A9A6-91ACD4324AAD}" dt="2021-04-15T17:28:32.235" v="1517" actId="571"/>
          <ac:spMkLst>
            <pc:docMk/>
            <pc:sldMk cId="2782114707" sldId="3138"/>
            <ac:spMk id="77" creationId="{828A69E9-94AA-4901-AB33-3B0A83E1863F}"/>
          </ac:spMkLst>
        </pc:spChg>
        <pc:spChg chg="mod">
          <ac:chgData name="Rodrigues, Tiago" userId="bb4f08b6-fa1b-4acb-8395-29d5b9651b11" providerId="ADAL" clId="{9DD99C57-18C5-4929-A9A6-91ACD4324AAD}" dt="2021-04-15T17:29:01.152" v="1525" actId="571"/>
          <ac:spMkLst>
            <pc:docMk/>
            <pc:sldMk cId="2782114707" sldId="3138"/>
            <ac:spMk id="82" creationId="{65047555-D957-41E9-A46A-9D71F80CEEA1}"/>
          </ac:spMkLst>
        </pc:spChg>
        <pc:spChg chg="mod">
          <ac:chgData name="Rodrigues, Tiago" userId="bb4f08b6-fa1b-4acb-8395-29d5b9651b11" providerId="ADAL" clId="{9DD99C57-18C5-4929-A9A6-91ACD4324AAD}" dt="2021-04-15T17:29:01.152" v="1525" actId="571"/>
          <ac:spMkLst>
            <pc:docMk/>
            <pc:sldMk cId="2782114707" sldId="3138"/>
            <ac:spMk id="83" creationId="{79F38E3A-BAF1-47FA-9127-451AC77760BE}"/>
          </ac:spMkLst>
        </pc:spChg>
        <pc:spChg chg="mod">
          <ac:chgData name="Rodrigues, Tiago" userId="bb4f08b6-fa1b-4acb-8395-29d5b9651b11" providerId="ADAL" clId="{9DD99C57-18C5-4929-A9A6-91ACD4324AAD}" dt="2021-04-15T17:29:01.152" v="1525" actId="571"/>
          <ac:spMkLst>
            <pc:docMk/>
            <pc:sldMk cId="2782114707" sldId="3138"/>
            <ac:spMk id="84" creationId="{E7EE72FD-2000-417C-854C-D525CE4F03D7}"/>
          </ac:spMkLst>
        </pc:spChg>
        <pc:spChg chg="mod">
          <ac:chgData name="Rodrigues, Tiago" userId="bb4f08b6-fa1b-4acb-8395-29d5b9651b11" providerId="ADAL" clId="{9DD99C57-18C5-4929-A9A6-91ACD4324AAD}" dt="2021-04-15T17:29:01.152" v="1525" actId="571"/>
          <ac:spMkLst>
            <pc:docMk/>
            <pc:sldMk cId="2782114707" sldId="3138"/>
            <ac:spMk id="85" creationId="{96CC7022-8BFD-45D9-93C3-D9BF6B73505C}"/>
          </ac:spMkLst>
        </pc:spChg>
        <pc:spChg chg="mod">
          <ac:chgData name="Rodrigues, Tiago" userId="bb4f08b6-fa1b-4acb-8395-29d5b9651b11" providerId="ADAL" clId="{9DD99C57-18C5-4929-A9A6-91ACD4324AAD}" dt="2021-04-15T17:29:01.152" v="1525" actId="571"/>
          <ac:spMkLst>
            <pc:docMk/>
            <pc:sldMk cId="2782114707" sldId="3138"/>
            <ac:spMk id="86" creationId="{33317CFC-7A29-4567-BD0B-AB7CE9496C4C}"/>
          </ac:spMkLst>
        </pc:spChg>
        <pc:spChg chg="mod">
          <ac:chgData name="Rodrigues, Tiago" userId="bb4f08b6-fa1b-4acb-8395-29d5b9651b11" providerId="ADAL" clId="{9DD99C57-18C5-4929-A9A6-91ACD4324AAD}" dt="2021-04-15T17:29:01.152" v="1525" actId="571"/>
          <ac:spMkLst>
            <pc:docMk/>
            <pc:sldMk cId="2782114707" sldId="3138"/>
            <ac:spMk id="92" creationId="{D829BD62-1B78-4FD2-B3B3-1423D56AA0B3}"/>
          </ac:spMkLst>
        </pc:spChg>
        <pc:spChg chg="mod">
          <ac:chgData name="Rodrigues, Tiago" userId="bb4f08b6-fa1b-4acb-8395-29d5b9651b11" providerId="ADAL" clId="{9DD99C57-18C5-4929-A9A6-91ACD4324AAD}" dt="2021-04-15T17:29:01.152" v="1525" actId="571"/>
          <ac:spMkLst>
            <pc:docMk/>
            <pc:sldMk cId="2782114707" sldId="3138"/>
            <ac:spMk id="93" creationId="{66F2D488-A050-4D32-AF49-49648177B1C5}"/>
          </ac:spMkLst>
        </pc:spChg>
        <pc:spChg chg="mod">
          <ac:chgData name="Rodrigues, Tiago" userId="bb4f08b6-fa1b-4acb-8395-29d5b9651b11" providerId="ADAL" clId="{9DD99C57-18C5-4929-A9A6-91ACD4324AAD}" dt="2021-04-15T17:29:01.152" v="1525" actId="571"/>
          <ac:spMkLst>
            <pc:docMk/>
            <pc:sldMk cId="2782114707" sldId="3138"/>
            <ac:spMk id="94" creationId="{A2D6115E-58AE-4809-A964-A46F66FA8553}"/>
          </ac:spMkLst>
        </pc:spChg>
        <pc:spChg chg="mod">
          <ac:chgData name="Rodrigues, Tiago" userId="bb4f08b6-fa1b-4acb-8395-29d5b9651b11" providerId="ADAL" clId="{9DD99C57-18C5-4929-A9A6-91ACD4324AAD}" dt="2021-04-15T17:29:01.152" v="1525" actId="571"/>
          <ac:spMkLst>
            <pc:docMk/>
            <pc:sldMk cId="2782114707" sldId="3138"/>
            <ac:spMk id="95" creationId="{B0166716-3379-42EC-B951-8A7395B16EFB}"/>
          </ac:spMkLst>
        </pc:spChg>
        <pc:spChg chg="mod">
          <ac:chgData name="Rodrigues, Tiago" userId="bb4f08b6-fa1b-4acb-8395-29d5b9651b11" providerId="ADAL" clId="{9DD99C57-18C5-4929-A9A6-91ACD4324AAD}" dt="2021-04-15T17:29:01.152" v="1525" actId="571"/>
          <ac:spMkLst>
            <pc:docMk/>
            <pc:sldMk cId="2782114707" sldId="3138"/>
            <ac:spMk id="96" creationId="{B821DD3A-FB21-443B-8BA2-5FE1B124A9E2}"/>
          </ac:spMkLst>
        </pc:spChg>
        <pc:spChg chg="mod">
          <ac:chgData name="Rodrigues, Tiago" userId="bb4f08b6-fa1b-4acb-8395-29d5b9651b11" providerId="ADAL" clId="{9DD99C57-18C5-4929-A9A6-91ACD4324AAD}" dt="2021-04-15T17:29:01.152" v="1525" actId="571"/>
          <ac:spMkLst>
            <pc:docMk/>
            <pc:sldMk cId="2782114707" sldId="3138"/>
            <ac:spMk id="97" creationId="{24789114-9AE9-4755-BFEC-C3DF46C64F16}"/>
          </ac:spMkLst>
        </pc:spChg>
        <pc:spChg chg="add mod">
          <ac:chgData name="Rodrigues, Tiago" userId="bb4f08b6-fa1b-4acb-8395-29d5b9651b11" providerId="ADAL" clId="{9DD99C57-18C5-4929-A9A6-91ACD4324AAD}" dt="2021-04-15T17:29:20.875" v="1528" actId="571"/>
          <ac:spMkLst>
            <pc:docMk/>
            <pc:sldMk cId="2782114707" sldId="3138"/>
            <ac:spMk id="98" creationId="{CB197CA6-8A79-4E7A-B8E6-ED17A63FAB03}"/>
          </ac:spMkLst>
        </pc:spChg>
        <pc:spChg chg="add mod">
          <ac:chgData name="Rodrigues, Tiago" userId="bb4f08b6-fa1b-4acb-8395-29d5b9651b11" providerId="ADAL" clId="{9DD99C57-18C5-4929-A9A6-91ACD4324AAD}" dt="2021-04-15T17:39:31.288" v="2489" actId="1035"/>
          <ac:spMkLst>
            <pc:docMk/>
            <pc:sldMk cId="2782114707" sldId="3138"/>
            <ac:spMk id="100" creationId="{C729C1DF-9702-458A-96BE-3F7B316C7119}"/>
          </ac:spMkLst>
        </pc:spChg>
        <pc:spChg chg="mod">
          <ac:chgData name="Rodrigues, Tiago" userId="bb4f08b6-fa1b-4acb-8395-29d5b9651b11" providerId="ADAL" clId="{9DD99C57-18C5-4929-A9A6-91ACD4324AAD}" dt="2021-04-15T17:39:31.288" v="2489" actId="1035"/>
          <ac:spMkLst>
            <pc:docMk/>
            <pc:sldMk cId="2782114707" sldId="3138"/>
            <ac:spMk id="104" creationId="{9AF2BF07-6FAA-47F8-9CBE-D88C7DBE1BFD}"/>
          </ac:spMkLst>
        </pc:spChg>
        <pc:spChg chg="mod">
          <ac:chgData name="Rodrigues, Tiago" userId="bb4f08b6-fa1b-4acb-8395-29d5b9651b11" providerId="ADAL" clId="{9DD99C57-18C5-4929-A9A6-91ACD4324AAD}" dt="2021-04-15T17:39:31.288" v="2489" actId="1035"/>
          <ac:spMkLst>
            <pc:docMk/>
            <pc:sldMk cId="2782114707" sldId="3138"/>
            <ac:spMk id="105" creationId="{C1526F14-4BE0-4CA0-A5A3-F9ADF09DE40F}"/>
          </ac:spMkLst>
        </pc:spChg>
        <pc:spChg chg="mod">
          <ac:chgData name="Rodrigues, Tiago" userId="bb4f08b6-fa1b-4acb-8395-29d5b9651b11" providerId="ADAL" clId="{9DD99C57-18C5-4929-A9A6-91ACD4324AAD}" dt="2021-04-15T17:39:31.288" v="2489" actId="1035"/>
          <ac:spMkLst>
            <pc:docMk/>
            <pc:sldMk cId="2782114707" sldId="3138"/>
            <ac:spMk id="106" creationId="{EDE127A2-5A49-4359-B6F3-D4D14106FFB8}"/>
          </ac:spMkLst>
        </pc:spChg>
        <pc:spChg chg="mod">
          <ac:chgData name="Rodrigues, Tiago" userId="bb4f08b6-fa1b-4acb-8395-29d5b9651b11" providerId="ADAL" clId="{9DD99C57-18C5-4929-A9A6-91ACD4324AAD}" dt="2021-04-15T17:39:31.288" v="2489" actId="1035"/>
          <ac:spMkLst>
            <pc:docMk/>
            <pc:sldMk cId="2782114707" sldId="3138"/>
            <ac:spMk id="107" creationId="{E299535F-375B-4575-BADA-E1D3B9A87D65}"/>
          </ac:spMkLst>
        </pc:spChg>
        <pc:spChg chg="mod">
          <ac:chgData name="Rodrigues, Tiago" userId="bb4f08b6-fa1b-4acb-8395-29d5b9651b11" providerId="ADAL" clId="{9DD99C57-18C5-4929-A9A6-91ACD4324AAD}" dt="2021-04-15T17:39:31.288" v="2489" actId="1035"/>
          <ac:spMkLst>
            <pc:docMk/>
            <pc:sldMk cId="2782114707" sldId="3138"/>
            <ac:spMk id="108" creationId="{BBCC53AF-C82D-4C0C-A350-0BFB73FE0CE0}"/>
          </ac:spMkLst>
        </pc:spChg>
        <pc:spChg chg="mod">
          <ac:chgData name="Rodrigues, Tiago" userId="bb4f08b6-fa1b-4acb-8395-29d5b9651b11" providerId="ADAL" clId="{9DD99C57-18C5-4929-A9A6-91ACD4324AAD}" dt="2021-04-15T17:39:31.288" v="2489" actId="1035"/>
          <ac:spMkLst>
            <pc:docMk/>
            <pc:sldMk cId="2782114707" sldId="3138"/>
            <ac:spMk id="114" creationId="{242E1C54-F3B3-4CC4-A5E2-E180DA1E62D4}"/>
          </ac:spMkLst>
        </pc:spChg>
        <pc:spChg chg="mod">
          <ac:chgData name="Rodrigues, Tiago" userId="bb4f08b6-fa1b-4acb-8395-29d5b9651b11" providerId="ADAL" clId="{9DD99C57-18C5-4929-A9A6-91ACD4324AAD}" dt="2021-04-15T17:39:31.288" v="2489" actId="1035"/>
          <ac:spMkLst>
            <pc:docMk/>
            <pc:sldMk cId="2782114707" sldId="3138"/>
            <ac:spMk id="115" creationId="{6D6CD277-8B72-46AA-9C87-282340771320}"/>
          </ac:spMkLst>
        </pc:spChg>
        <pc:spChg chg="mod">
          <ac:chgData name="Rodrigues, Tiago" userId="bb4f08b6-fa1b-4acb-8395-29d5b9651b11" providerId="ADAL" clId="{9DD99C57-18C5-4929-A9A6-91ACD4324AAD}" dt="2021-04-15T17:39:31.288" v="2489" actId="1035"/>
          <ac:spMkLst>
            <pc:docMk/>
            <pc:sldMk cId="2782114707" sldId="3138"/>
            <ac:spMk id="116" creationId="{5BD1AE3A-2E52-4739-872D-CC86855BD4D2}"/>
          </ac:spMkLst>
        </pc:spChg>
        <pc:spChg chg="mod">
          <ac:chgData name="Rodrigues, Tiago" userId="bb4f08b6-fa1b-4acb-8395-29d5b9651b11" providerId="ADAL" clId="{9DD99C57-18C5-4929-A9A6-91ACD4324AAD}" dt="2021-04-15T17:39:31.288" v="2489" actId="1035"/>
          <ac:spMkLst>
            <pc:docMk/>
            <pc:sldMk cId="2782114707" sldId="3138"/>
            <ac:spMk id="117" creationId="{47A589E0-48C5-49C4-B58A-561A9C543D2C}"/>
          </ac:spMkLst>
        </pc:spChg>
        <pc:spChg chg="mod">
          <ac:chgData name="Rodrigues, Tiago" userId="bb4f08b6-fa1b-4acb-8395-29d5b9651b11" providerId="ADAL" clId="{9DD99C57-18C5-4929-A9A6-91ACD4324AAD}" dt="2021-04-15T17:39:31.288" v="2489" actId="1035"/>
          <ac:spMkLst>
            <pc:docMk/>
            <pc:sldMk cId="2782114707" sldId="3138"/>
            <ac:spMk id="118" creationId="{4027E2BD-3E44-472A-A471-E89E2EAA7A2C}"/>
          </ac:spMkLst>
        </pc:spChg>
        <pc:spChg chg="mod">
          <ac:chgData name="Rodrigues, Tiago" userId="bb4f08b6-fa1b-4acb-8395-29d5b9651b11" providerId="ADAL" clId="{9DD99C57-18C5-4929-A9A6-91ACD4324AAD}" dt="2021-04-15T17:39:31.288" v="2489" actId="1035"/>
          <ac:spMkLst>
            <pc:docMk/>
            <pc:sldMk cId="2782114707" sldId="3138"/>
            <ac:spMk id="119" creationId="{36C09C62-D8D6-4C6F-A880-4B767E1BB2DF}"/>
          </ac:spMkLst>
        </pc:spChg>
        <pc:spChg chg="add mod">
          <ac:chgData name="Rodrigues, Tiago" userId="bb4f08b6-fa1b-4acb-8395-29d5b9651b11" providerId="ADAL" clId="{9DD99C57-18C5-4929-A9A6-91ACD4324AAD}" dt="2021-04-15T17:39:31.845" v="2490" actId="1076"/>
          <ac:spMkLst>
            <pc:docMk/>
            <pc:sldMk cId="2782114707" sldId="3138"/>
            <ac:spMk id="120" creationId="{23C0FDBD-7759-44B6-BE9A-99D72855110D}"/>
          </ac:spMkLst>
        </pc:spChg>
        <pc:spChg chg="add del mod modVis">
          <ac:chgData name="Rodrigues, Tiago" userId="bb4f08b6-fa1b-4acb-8395-29d5b9651b11" providerId="ADAL" clId="{9DD99C57-18C5-4929-A9A6-91ACD4324AAD}" dt="2021-04-15T17:39:32.578" v="2539" actId="478"/>
          <ac:spMkLst>
            <pc:docMk/>
            <pc:sldMk cId="2782114707" sldId="3138"/>
            <ac:spMk id="121" creationId="{B344C25E-1AE5-4D98-A5B9-B457C8A3BCC2}"/>
          </ac:spMkLst>
        </pc:spChg>
        <pc:grpChg chg="add del mod">
          <ac:chgData name="Rodrigues, Tiago" userId="bb4f08b6-fa1b-4acb-8395-29d5b9651b11" providerId="ADAL" clId="{9DD99C57-18C5-4929-A9A6-91ACD4324AAD}" dt="2021-04-15T17:28:29.770" v="1515" actId="165"/>
          <ac:grpSpMkLst>
            <pc:docMk/>
            <pc:sldMk cId="2782114707" sldId="3138"/>
            <ac:grpSpMk id="53" creationId="{52DB0718-6ECD-4FF8-8B6A-6FDDA0C150AF}"/>
          </ac:grpSpMkLst>
        </pc:grpChg>
        <pc:grpChg chg="add mod">
          <ac:chgData name="Rodrigues, Tiago" userId="bb4f08b6-fa1b-4acb-8395-29d5b9651b11" providerId="ADAL" clId="{9DD99C57-18C5-4929-A9A6-91ACD4324AAD}" dt="2021-04-15T17:29:17.562" v="1526" actId="164"/>
          <ac:grpSpMkLst>
            <pc:docMk/>
            <pc:sldMk cId="2782114707" sldId="3138"/>
            <ac:grpSpMk id="78" creationId="{52E82573-E371-4368-8650-D2C64B223515}"/>
          </ac:grpSpMkLst>
        </pc:grpChg>
        <pc:grpChg chg="add mod">
          <ac:chgData name="Rodrigues, Tiago" userId="bb4f08b6-fa1b-4acb-8395-29d5b9651b11" providerId="ADAL" clId="{9DD99C57-18C5-4929-A9A6-91ACD4324AAD}" dt="2021-04-15T17:29:01.152" v="1525" actId="571"/>
          <ac:grpSpMkLst>
            <pc:docMk/>
            <pc:sldMk cId="2782114707" sldId="3138"/>
            <ac:grpSpMk id="79" creationId="{728A6BFE-7AB4-44EA-B178-5556DA6AAC46}"/>
          </ac:grpSpMkLst>
        </pc:grpChg>
        <pc:grpChg chg="add del mod">
          <ac:chgData name="Rodrigues, Tiago" userId="bb4f08b6-fa1b-4acb-8395-29d5b9651b11" providerId="ADAL" clId="{9DD99C57-18C5-4929-A9A6-91ACD4324AAD}" dt="2021-04-15T17:33:33.376" v="1601" actId="21"/>
          <ac:grpSpMkLst>
            <pc:docMk/>
            <pc:sldMk cId="2782114707" sldId="3138"/>
            <ac:grpSpMk id="99" creationId="{9E58209A-7CFA-408B-BF05-ABD741939E29}"/>
          </ac:grpSpMkLst>
        </pc:grpChg>
        <pc:grpChg chg="add mod">
          <ac:chgData name="Rodrigues, Tiago" userId="bb4f08b6-fa1b-4acb-8395-29d5b9651b11" providerId="ADAL" clId="{9DD99C57-18C5-4929-A9A6-91ACD4324AAD}" dt="2021-04-15T17:39:31.288" v="2489" actId="1035"/>
          <ac:grpSpMkLst>
            <pc:docMk/>
            <pc:sldMk cId="2782114707" sldId="3138"/>
            <ac:grpSpMk id="101" creationId="{9ADBE850-A4A3-4D4D-B8E2-2115B4CF26A8}"/>
          </ac:grpSpMkLst>
        </pc:grpChg>
        <pc:graphicFrameChg chg="add mod ord modVis">
          <ac:chgData name="Rodrigues, Tiago" userId="bb4f08b6-fa1b-4acb-8395-29d5b9651b11" providerId="ADAL" clId="{9DD99C57-18C5-4929-A9A6-91ACD4324AAD}" dt="2021-04-15T17:39:32.587" v="2542"/>
          <ac:graphicFrameMkLst>
            <pc:docMk/>
            <pc:sldMk cId="2782114707" sldId="3138"/>
            <ac:graphicFrameMk id="5" creationId="{90EDF7BE-3C41-4432-8134-6EEC55C8AB86}"/>
          </ac:graphicFrameMkLst>
        </pc:graphicFrameChg>
        <pc:picChg chg="add del mod">
          <ac:chgData name="Rodrigues, Tiago" userId="bb4f08b6-fa1b-4acb-8395-29d5b9651b11" providerId="ADAL" clId="{9DD99C57-18C5-4929-A9A6-91ACD4324AAD}" dt="2021-04-15T17:15:48.739" v="476" actId="478"/>
          <ac:picMkLst>
            <pc:docMk/>
            <pc:sldMk cId="2782114707" sldId="3138"/>
            <ac:picMk id="16" creationId="{9250F1F1-910A-4FCC-A490-2D045F9DA574}"/>
          </ac:picMkLst>
        </pc:picChg>
        <pc:picChg chg="add mod topLvl">
          <ac:chgData name="Rodrigues, Tiago" userId="bb4f08b6-fa1b-4acb-8395-29d5b9651b11" providerId="ADAL" clId="{9DD99C57-18C5-4929-A9A6-91ACD4324AAD}" dt="2021-04-15T17:33:27.013" v="1600" actId="1076"/>
          <ac:picMkLst>
            <pc:docMk/>
            <pc:sldMk cId="2782114707" sldId="3138"/>
            <ac:picMk id="18" creationId="{4FB7C004-2EE9-4903-91EF-DF3345393ED0}"/>
          </ac:picMkLst>
        </pc:picChg>
        <pc:picChg chg="add mod">
          <ac:chgData name="Rodrigues, Tiago" userId="bb4f08b6-fa1b-4acb-8395-29d5b9651b11" providerId="ADAL" clId="{9DD99C57-18C5-4929-A9A6-91ACD4324AAD}" dt="2021-04-15T17:22:09.020" v="555" actId="571"/>
          <ac:picMkLst>
            <pc:docMk/>
            <pc:sldMk cId="2782114707" sldId="3138"/>
            <ac:picMk id="36" creationId="{F68901F8-8FFB-4EFD-8B61-6F7FCBAA0CA4}"/>
          </ac:picMkLst>
        </pc:picChg>
        <pc:picChg chg="mod">
          <ac:chgData name="Rodrigues, Tiago" userId="bb4f08b6-fa1b-4acb-8395-29d5b9651b11" providerId="ADAL" clId="{9DD99C57-18C5-4929-A9A6-91ACD4324AAD}" dt="2021-04-15T17:29:01.152" v="1525" actId="571"/>
          <ac:picMkLst>
            <pc:docMk/>
            <pc:sldMk cId="2782114707" sldId="3138"/>
            <ac:picMk id="80" creationId="{9A018D45-24BD-4F12-B7A0-025C786558C5}"/>
          </ac:picMkLst>
        </pc:picChg>
        <pc:picChg chg="mod">
          <ac:chgData name="Rodrigues, Tiago" userId="bb4f08b6-fa1b-4acb-8395-29d5b9651b11" providerId="ADAL" clId="{9DD99C57-18C5-4929-A9A6-91ACD4324AAD}" dt="2021-04-15T17:39:31.288" v="2489" actId="1035"/>
          <ac:picMkLst>
            <pc:docMk/>
            <pc:sldMk cId="2782114707" sldId="3138"/>
            <ac:picMk id="102" creationId="{7F1B83D7-2F8F-4206-8EA4-C894E91EE822}"/>
          </ac:picMkLst>
        </pc:picChg>
        <pc:cxnChg chg="add del">
          <ac:chgData name="Rodrigues, Tiago" userId="bb4f08b6-fa1b-4acb-8395-29d5b9651b11" providerId="ADAL" clId="{9DD99C57-18C5-4929-A9A6-91ACD4324AAD}" dt="2021-04-15T17:17:00.963" v="482" actId="478"/>
          <ac:cxnSpMkLst>
            <pc:docMk/>
            <pc:sldMk cId="2782114707" sldId="3138"/>
            <ac:cxnSpMk id="20" creationId="{B7779170-058A-4BC2-BC2D-FD7165EA7A26}"/>
          </ac:cxnSpMkLst>
        </pc:cxnChg>
        <pc:cxnChg chg="add del mod">
          <ac:chgData name="Rodrigues, Tiago" userId="bb4f08b6-fa1b-4acb-8395-29d5b9651b11" providerId="ADAL" clId="{9DD99C57-18C5-4929-A9A6-91ACD4324AAD}" dt="2021-04-15T17:17:23.275" v="486" actId="478"/>
          <ac:cxnSpMkLst>
            <pc:docMk/>
            <pc:sldMk cId="2782114707" sldId="3138"/>
            <ac:cxnSpMk id="22" creationId="{40990DB4-6A91-4887-A8FC-3E95E337E527}"/>
          </ac:cxnSpMkLst>
        </pc:cxnChg>
        <pc:cxnChg chg="add del mod">
          <ac:chgData name="Rodrigues, Tiago" userId="bb4f08b6-fa1b-4acb-8395-29d5b9651b11" providerId="ADAL" clId="{9DD99C57-18C5-4929-A9A6-91ACD4324AAD}" dt="2021-04-15T17:18:12.125" v="492" actId="478"/>
          <ac:cxnSpMkLst>
            <pc:docMk/>
            <pc:sldMk cId="2782114707" sldId="3138"/>
            <ac:cxnSpMk id="26" creationId="{C5A391C6-C3FF-4C54-8AC4-83B0501C6601}"/>
          </ac:cxnSpMkLst>
        </pc:cxnChg>
        <pc:cxnChg chg="add mod topLvl">
          <ac:chgData name="Rodrigues, Tiago" userId="bb4f08b6-fa1b-4acb-8395-29d5b9651b11" providerId="ADAL" clId="{9DD99C57-18C5-4929-A9A6-91ACD4324AAD}" dt="2021-04-15T17:33:27.013" v="1600" actId="1076"/>
          <ac:cxnSpMkLst>
            <pc:docMk/>
            <pc:sldMk cId="2782114707" sldId="3138"/>
            <ac:cxnSpMk id="30" creationId="{0282F9F7-A34C-47BD-8C04-6CBE79E7BD57}"/>
          </ac:cxnSpMkLst>
        </pc:cxnChg>
        <pc:cxnChg chg="add mod topLvl">
          <ac:chgData name="Rodrigues, Tiago" userId="bb4f08b6-fa1b-4acb-8395-29d5b9651b11" providerId="ADAL" clId="{9DD99C57-18C5-4929-A9A6-91ACD4324AAD}" dt="2021-04-15T17:33:27.013" v="1600" actId="1076"/>
          <ac:cxnSpMkLst>
            <pc:docMk/>
            <pc:sldMk cId="2782114707" sldId="3138"/>
            <ac:cxnSpMk id="38" creationId="{00C15730-EFE2-4049-B6BB-29DCFFF71917}"/>
          </ac:cxnSpMkLst>
        </pc:cxnChg>
        <pc:cxnChg chg="add mod topLvl">
          <ac:chgData name="Rodrigues, Tiago" userId="bb4f08b6-fa1b-4acb-8395-29d5b9651b11" providerId="ADAL" clId="{9DD99C57-18C5-4929-A9A6-91ACD4324AAD}" dt="2021-04-15T17:33:27.013" v="1600" actId="1076"/>
          <ac:cxnSpMkLst>
            <pc:docMk/>
            <pc:sldMk cId="2782114707" sldId="3138"/>
            <ac:cxnSpMk id="41" creationId="{ADF91104-47D2-4923-83C7-009561DEB448}"/>
          </ac:cxnSpMkLst>
        </pc:cxnChg>
        <pc:cxnChg chg="add mod topLvl">
          <ac:chgData name="Rodrigues, Tiago" userId="bb4f08b6-fa1b-4acb-8395-29d5b9651b11" providerId="ADAL" clId="{9DD99C57-18C5-4929-A9A6-91ACD4324AAD}" dt="2021-04-15T17:33:27.013" v="1600" actId="1076"/>
          <ac:cxnSpMkLst>
            <pc:docMk/>
            <pc:sldMk cId="2782114707" sldId="3138"/>
            <ac:cxnSpMk id="45" creationId="{379EF368-DFE8-481E-B615-A47362F44F7B}"/>
          </ac:cxnSpMkLst>
        </pc:cxnChg>
        <pc:cxnChg chg="add mod topLvl">
          <ac:chgData name="Rodrigues, Tiago" userId="bb4f08b6-fa1b-4acb-8395-29d5b9651b11" providerId="ADAL" clId="{9DD99C57-18C5-4929-A9A6-91ACD4324AAD}" dt="2021-04-15T17:33:27.013" v="1600" actId="1076"/>
          <ac:cxnSpMkLst>
            <pc:docMk/>
            <pc:sldMk cId="2782114707" sldId="3138"/>
            <ac:cxnSpMk id="49" creationId="{E6547DC5-0D7D-4316-8BA0-A3855A2F1B12}"/>
          </ac:cxnSpMkLst>
        </pc:cxnChg>
        <pc:cxnChg chg="add mod topLvl">
          <ac:chgData name="Rodrigues, Tiago" userId="bb4f08b6-fa1b-4acb-8395-29d5b9651b11" providerId="ADAL" clId="{9DD99C57-18C5-4929-A9A6-91ACD4324AAD}" dt="2021-04-15T17:33:27.013" v="1600" actId="1076"/>
          <ac:cxnSpMkLst>
            <pc:docMk/>
            <pc:sldMk cId="2782114707" sldId="3138"/>
            <ac:cxnSpMk id="51" creationId="{150D8172-4B87-45D0-AD11-34D5E94BFBD6}"/>
          </ac:cxnSpMkLst>
        </pc:cxnChg>
        <pc:cxnChg chg="mod">
          <ac:chgData name="Rodrigues, Tiago" userId="bb4f08b6-fa1b-4acb-8395-29d5b9651b11" providerId="ADAL" clId="{9DD99C57-18C5-4929-A9A6-91ACD4324AAD}" dt="2021-04-15T17:29:01.152" v="1525" actId="571"/>
          <ac:cxnSpMkLst>
            <pc:docMk/>
            <pc:sldMk cId="2782114707" sldId="3138"/>
            <ac:cxnSpMk id="81" creationId="{303F78A4-BD34-4FF5-B067-0EA53F49700D}"/>
          </ac:cxnSpMkLst>
        </pc:cxnChg>
        <pc:cxnChg chg="mod">
          <ac:chgData name="Rodrigues, Tiago" userId="bb4f08b6-fa1b-4acb-8395-29d5b9651b11" providerId="ADAL" clId="{9DD99C57-18C5-4929-A9A6-91ACD4324AAD}" dt="2021-04-15T17:29:01.152" v="1525" actId="571"/>
          <ac:cxnSpMkLst>
            <pc:docMk/>
            <pc:sldMk cId="2782114707" sldId="3138"/>
            <ac:cxnSpMk id="87" creationId="{74A2B1AD-9B63-4456-BC1E-61EEDEC7AC60}"/>
          </ac:cxnSpMkLst>
        </pc:cxnChg>
        <pc:cxnChg chg="mod">
          <ac:chgData name="Rodrigues, Tiago" userId="bb4f08b6-fa1b-4acb-8395-29d5b9651b11" providerId="ADAL" clId="{9DD99C57-18C5-4929-A9A6-91ACD4324AAD}" dt="2021-04-15T17:29:01.152" v="1525" actId="571"/>
          <ac:cxnSpMkLst>
            <pc:docMk/>
            <pc:sldMk cId="2782114707" sldId="3138"/>
            <ac:cxnSpMk id="88" creationId="{9DFCEE89-05D1-42CE-B757-F62E48D0871B}"/>
          </ac:cxnSpMkLst>
        </pc:cxnChg>
        <pc:cxnChg chg="mod">
          <ac:chgData name="Rodrigues, Tiago" userId="bb4f08b6-fa1b-4acb-8395-29d5b9651b11" providerId="ADAL" clId="{9DD99C57-18C5-4929-A9A6-91ACD4324AAD}" dt="2021-04-15T17:29:01.152" v="1525" actId="571"/>
          <ac:cxnSpMkLst>
            <pc:docMk/>
            <pc:sldMk cId="2782114707" sldId="3138"/>
            <ac:cxnSpMk id="89" creationId="{88ECEA2C-4FF1-4C42-B337-8C6F382D9EC9}"/>
          </ac:cxnSpMkLst>
        </pc:cxnChg>
        <pc:cxnChg chg="mod">
          <ac:chgData name="Rodrigues, Tiago" userId="bb4f08b6-fa1b-4acb-8395-29d5b9651b11" providerId="ADAL" clId="{9DD99C57-18C5-4929-A9A6-91ACD4324AAD}" dt="2021-04-15T17:29:01.152" v="1525" actId="571"/>
          <ac:cxnSpMkLst>
            <pc:docMk/>
            <pc:sldMk cId="2782114707" sldId="3138"/>
            <ac:cxnSpMk id="90" creationId="{1A784C93-05AC-4910-8FBB-7E9B5E8609D0}"/>
          </ac:cxnSpMkLst>
        </pc:cxnChg>
        <pc:cxnChg chg="mod">
          <ac:chgData name="Rodrigues, Tiago" userId="bb4f08b6-fa1b-4acb-8395-29d5b9651b11" providerId="ADAL" clId="{9DD99C57-18C5-4929-A9A6-91ACD4324AAD}" dt="2021-04-15T17:29:01.152" v="1525" actId="571"/>
          <ac:cxnSpMkLst>
            <pc:docMk/>
            <pc:sldMk cId="2782114707" sldId="3138"/>
            <ac:cxnSpMk id="91" creationId="{01495BB6-2090-4B5F-8BC7-E730C7BC7A8D}"/>
          </ac:cxnSpMkLst>
        </pc:cxnChg>
        <pc:cxnChg chg="mod">
          <ac:chgData name="Rodrigues, Tiago" userId="bb4f08b6-fa1b-4acb-8395-29d5b9651b11" providerId="ADAL" clId="{9DD99C57-18C5-4929-A9A6-91ACD4324AAD}" dt="2021-04-15T17:39:31.288" v="2489" actId="1035"/>
          <ac:cxnSpMkLst>
            <pc:docMk/>
            <pc:sldMk cId="2782114707" sldId="3138"/>
            <ac:cxnSpMk id="103" creationId="{477546D4-EA3F-461A-B626-ED60331219E7}"/>
          </ac:cxnSpMkLst>
        </pc:cxnChg>
        <pc:cxnChg chg="mod">
          <ac:chgData name="Rodrigues, Tiago" userId="bb4f08b6-fa1b-4acb-8395-29d5b9651b11" providerId="ADAL" clId="{9DD99C57-18C5-4929-A9A6-91ACD4324AAD}" dt="2021-04-15T17:39:31.288" v="2489" actId="1035"/>
          <ac:cxnSpMkLst>
            <pc:docMk/>
            <pc:sldMk cId="2782114707" sldId="3138"/>
            <ac:cxnSpMk id="109" creationId="{93F2B179-F84F-4689-8991-C000E2B6552A}"/>
          </ac:cxnSpMkLst>
        </pc:cxnChg>
        <pc:cxnChg chg="mod">
          <ac:chgData name="Rodrigues, Tiago" userId="bb4f08b6-fa1b-4acb-8395-29d5b9651b11" providerId="ADAL" clId="{9DD99C57-18C5-4929-A9A6-91ACD4324AAD}" dt="2021-04-15T17:39:31.288" v="2489" actId="1035"/>
          <ac:cxnSpMkLst>
            <pc:docMk/>
            <pc:sldMk cId="2782114707" sldId="3138"/>
            <ac:cxnSpMk id="110" creationId="{9BB0B87D-CA0B-4039-8910-704C363F0A39}"/>
          </ac:cxnSpMkLst>
        </pc:cxnChg>
        <pc:cxnChg chg="mod">
          <ac:chgData name="Rodrigues, Tiago" userId="bb4f08b6-fa1b-4acb-8395-29d5b9651b11" providerId="ADAL" clId="{9DD99C57-18C5-4929-A9A6-91ACD4324AAD}" dt="2021-04-15T17:39:31.288" v="2489" actId="1035"/>
          <ac:cxnSpMkLst>
            <pc:docMk/>
            <pc:sldMk cId="2782114707" sldId="3138"/>
            <ac:cxnSpMk id="111" creationId="{15917493-8296-4748-95A2-29B99BD84F2C}"/>
          </ac:cxnSpMkLst>
        </pc:cxnChg>
        <pc:cxnChg chg="mod">
          <ac:chgData name="Rodrigues, Tiago" userId="bb4f08b6-fa1b-4acb-8395-29d5b9651b11" providerId="ADAL" clId="{9DD99C57-18C5-4929-A9A6-91ACD4324AAD}" dt="2021-04-15T17:39:31.288" v="2489" actId="1035"/>
          <ac:cxnSpMkLst>
            <pc:docMk/>
            <pc:sldMk cId="2782114707" sldId="3138"/>
            <ac:cxnSpMk id="112" creationId="{4986D293-2C4E-47B8-9A3D-BF520798B8AE}"/>
          </ac:cxnSpMkLst>
        </pc:cxnChg>
        <pc:cxnChg chg="mod">
          <ac:chgData name="Rodrigues, Tiago" userId="bb4f08b6-fa1b-4acb-8395-29d5b9651b11" providerId="ADAL" clId="{9DD99C57-18C5-4929-A9A6-91ACD4324AAD}" dt="2021-04-15T17:39:31.288" v="2489" actId="1035"/>
          <ac:cxnSpMkLst>
            <pc:docMk/>
            <pc:sldMk cId="2782114707" sldId="3138"/>
            <ac:cxnSpMk id="113" creationId="{EE842A66-7B0F-40D0-94D5-3CADC1C5AF46}"/>
          </ac:cxnSpMkLst>
        </pc:cxnChg>
      </pc:sldChg>
      <pc:sldChg chg="addSp delSp modSp new add del mod">
        <pc:chgData name="Rodrigues, Tiago" userId="bb4f08b6-fa1b-4acb-8395-29d5b9651b11" providerId="ADAL" clId="{9DD99C57-18C5-4929-A9A6-91ACD4324AAD}" dt="2021-04-16T09:23:34.231" v="3768" actId="115"/>
        <pc:sldMkLst>
          <pc:docMk/>
          <pc:sldMk cId="2931543783" sldId="3139"/>
        </pc:sldMkLst>
        <pc:spChg chg="add del">
          <ac:chgData name="Rodrigues, Tiago" userId="bb4f08b6-fa1b-4acb-8395-29d5b9651b11" providerId="ADAL" clId="{9DD99C57-18C5-4929-A9A6-91ACD4324AAD}" dt="2021-04-15T17:39:31.962" v="2494" actId="478"/>
          <ac:spMkLst>
            <pc:docMk/>
            <pc:sldMk cId="2931543783" sldId="3139"/>
            <ac:spMk id="2" creationId="{AB68C356-100C-46B5-BF8F-D29F486BDDB9}"/>
          </ac:spMkLst>
        </pc:spChg>
        <pc:spChg chg="add del">
          <ac:chgData name="Rodrigues, Tiago" userId="bb4f08b6-fa1b-4acb-8395-29d5b9651b11" providerId="ADAL" clId="{9DD99C57-18C5-4929-A9A6-91ACD4324AAD}" dt="2021-04-15T17:39:32.605" v="2595" actId="478"/>
          <ac:spMkLst>
            <pc:docMk/>
            <pc:sldMk cId="2931543783" sldId="3139"/>
            <ac:spMk id="3" creationId="{5EFFB756-209C-4A57-8C1E-92AB1EC903AE}"/>
          </ac:spMkLst>
        </pc:spChg>
        <pc:spChg chg="add del mod ord modVis">
          <ac:chgData name="Rodrigues, Tiago" userId="bb4f08b6-fa1b-4acb-8395-29d5b9651b11" providerId="ADAL" clId="{9DD99C57-18C5-4929-A9A6-91ACD4324AAD}" dt="2021-04-15T17:49:20.814" v="3045"/>
          <ac:spMkLst>
            <pc:docMk/>
            <pc:sldMk cId="2931543783" sldId="3139"/>
            <ac:spMk id="3" creationId="{948E3782-383F-4528-9CC2-D55C7A9A944D}"/>
          </ac:spMkLst>
        </pc:spChg>
        <pc:spChg chg="add del">
          <ac:chgData name="Rodrigues, Tiago" userId="bb4f08b6-fa1b-4acb-8395-29d5b9651b11" providerId="ADAL" clId="{9DD99C57-18C5-4929-A9A6-91ACD4324AAD}" dt="2021-04-15T17:39:31.874" v="2492" actId="478"/>
          <ac:spMkLst>
            <pc:docMk/>
            <pc:sldMk cId="2931543783" sldId="3139"/>
            <ac:spMk id="4" creationId="{006492A1-8C2C-4170-8EC9-337609199728}"/>
          </ac:spMkLst>
        </pc:spChg>
        <pc:spChg chg="add del mod modVis">
          <ac:chgData name="Rodrigues, Tiago" userId="bb4f08b6-fa1b-4acb-8395-29d5b9651b11" providerId="ADAL" clId="{9DD99C57-18C5-4929-A9A6-91ACD4324AAD}" dt="2021-04-15T17:50:44.332" v="3145" actId="1076"/>
          <ac:spMkLst>
            <pc:docMk/>
            <pc:sldMk cId="2931543783" sldId="3139"/>
            <ac:spMk id="4" creationId="{E19CF0F6-9457-4A9E-A3E7-EFDA9F4912A7}"/>
          </ac:spMkLst>
        </pc:spChg>
        <pc:spChg chg="add del mod">
          <ac:chgData name="Rodrigues, Tiago" userId="bb4f08b6-fa1b-4acb-8395-29d5b9651b11" providerId="ADAL" clId="{9DD99C57-18C5-4929-A9A6-91ACD4324AAD}" dt="2021-04-15T17:51:13.690" v="3304"/>
          <ac:spMkLst>
            <pc:docMk/>
            <pc:sldMk cId="2931543783" sldId="3139"/>
            <ac:spMk id="5" creationId="{B4F259A6-90A9-4F89-AAA1-51CDADCFAD83}"/>
          </ac:spMkLst>
        </pc:spChg>
        <pc:spChg chg="add del mod modVis">
          <ac:chgData name="Rodrigues, Tiago" userId="bb4f08b6-fa1b-4acb-8395-29d5b9651b11" providerId="ADAL" clId="{9DD99C57-18C5-4929-A9A6-91ACD4324AAD}" dt="2021-04-15T17:51:08.425" v="3214"/>
          <ac:spMkLst>
            <pc:docMk/>
            <pc:sldMk cId="2931543783" sldId="3139"/>
            <ac:spMk id="6" creationId="{17717154-F1FF-403D-AE74-E101305268E8}"/>
          </ac:spMkLst>
        </pc:spChg>
        <pc:spChg chg="add del mod modVis">
          <ac:chgData name="Rodrigues, Tiago" userId="bb4f08b6-fa1b-4acb-8395-29d5b9651b11" providerId="ADAL" clId="{9DD99C57-18C5-4929-A9A6-91ACD4324AAD}" dt="2021-04-15T17:39:32.605" v="2595" actId="478"/>
          <ac:spMkLst>
            <pc:docMk/>
            <pc:sldMk cId="2931543783" sldId="3139"/>
            <ac:spMk id="6" creationId="{E8707228-0221-43A0-829A-06169E6D3F78}"/>
          </ac:spMkLst>
        </pc:spChg>
        <pc:spChg chg="add del mod modVis">
          <ac:chgData name="Rodrigues, Tiago" userId="bb4f08b6-fa1b-4acb-8395-29d5b9651b11" providerId="ADAL" clId="{9DD99C57-18C5-4929-A9A6-91ACD4324AAD}" dt="2021-04-15T17:39:32.636" v="2642" actId="478"/>
          <ac:spMkLst>
            <pc:docMk/>
            <pc:sldMk cId="2931543783" sldId="3139"/>
            <ac:spMk id="8" creationId="{39F21031-9149-4F6D-81C3-7B240AC043D4}"/>
          </ac:spMkLst>
        </pc:spChg>
        <pc:spChg chg="add del mod modVis">
          <ac:chgData name="Rodrigues, Tiago" userId="bb4f08b6-fa1b-4acb-8395-29d5b9651b11" providerId="ADAL" clId="{9DD99C57-18C5-4929-A9A6-91ACD4324AAD}" dt="2021-04-15T17:51:09.319" v="3257"/>
          <ac:spMkLst>
            <pc:docMk/>
            <pc:sldMk cId="2931543783" sldId="3139"/>
            <ac:spMk id="8" creationId="{7FBFB360-C28C-4E2E-9567-673986A6CF50}"/>
          </ac:spMkLst>
        </pc:spChg>
        <pc:spChg chg="add del mod modVis">
          <ac:chgData name="Rodrigues, Tiago" userId="bb4f08b6-fa1b-4acb-8395-29d5b9651b11" providerId="ADAL" clId="{9DD99C57-18C5-4929-A9A6-91ACD4324AAD}" dt="2021-04-15T17:39:32.682" v="2694" actId="478"/>
          <ac:spMkLst>
            <pc:docMk/>
            <pc:sldMk cId="2931543783" sldId="3139"/>
            <ac:spMk id="9" creationId="{86E7D66B-2A12-4045-9C09-B7F03F471798}"/>
          </ac:spMkLst>
        </pc:spChg>
        <pc:spChg chg="add del mod modVis">
          <ac:chgData name="Rodrigues, Tiago" userId="bb4f08b6-fa1b-4acb-8395-29d5b9651b11" providerId="ADAL" clId="{9DD99C57-18C5-4929-A9A6-91ACD4324AAD}" dt="2021-04-15T17:51:09.943" v="3298"/>
          <ac:spMkLst>
            <pc:docMk/>
            <pc:sldMk cId="2931543783" sldId="3139"/>
            <ac:spMk id="10" creationId="{01449C0A-ECDA-4F7F-A2D8-80E30D612E6F}"/>
          </ac:spMkLst>
        </pc:spChg>
        <pc:spChg chg="add del mod modVis">
          <ac:chgData name="Rodrigues, Tiago" userId="bb4f08b6-fa1b-4acb-8395-29d5b9651b11" providerId="ADAL" clId="{9DD99C57-18C5-4929-A9A6-91ACD4324AAD}" dt="2021-04-15T17:39:32.856" v="2733" actId="478"/>
          <ac:spMkLst>
            <pc:docMk/>
            <pc:sldMk cId="2931543783" sldId="3139"/>
            <ac:spMk id="10" creationId="{C2D3AB60-5A6B-4908-A9BB-65BD2FEF503B}"/>
          </ac:spMkLst>
        </pc:spChg>
        <pc:spChg chg="add del mod modVis">
          <ac:chgData name="Rodrigues, Tiago" userId="bb4f08b6-fa1b-4acb-8395-29d5b9651b11" providerId="ADAL" clId="{9DD99C57-18C5-4929-A9A6-91ACD4324AAD}" dt="2021-04-15T17:51:13.728" v="3341"/>
          <ac:spMkLst>
            <pc:docMk/>
            <pc:sldMk cId="2931543783" sldId="3139"/>
            <ac:spMk id="14" creationId="{696ACAEF-C543-46CE-8C2A-56B5F6E0683D}"/>
          </ac:spMkLst>
        </pc:spChg>
        <pc:spChg chg="add mod">
          <ac:chgData name="Rodrigues, Tiago" userId="bb4f08b6-fa1b-4acb-8395-29d5b9651b11" providerId="ADAL" clId="{9DD99C57-18C5-4929-A9A6-91ACD4324AAD}" dt="2021-04-16T09:23:34.231" v="3768" actId="115"/>
          <ac:spMkLst>
            <pc:docMk/>
            <pc:sldMk cId="2931543783" sldId="3139"/>
            <ac:spMk id="15" creationId="{081925FD-EA68-4A6C-BFE9-2602FD896AD5}"/>
          </ac:spMkLst>
        </pc:spChg>
        <pc:spChg chg="add mod">
          <ac:chgData name="Rodrigues, Tiago" userId="bb4f08b6-fa1b-4acb-8395-29d5b9651b11" providerId="ADAL" clId="{9DD99C57-18C5-4929-A9A6-91ACD4324AAD}" dt="2021-04-15T18:04:45.855" v="3731" actId="20577"/>
          <ac:spMkLst>
            <pc:docMk/>
            <pc:sldMk cId="2931543783" sldId="3139"/>
            <ac:spMk id="27" creationId="{92A84BC0-5958-4E56-B43C-ABAB4E44D05C}"/>
          </ac:spMkLst>
        </pc:spChg>
        <pc:graphicFrameChg chg="add mod ord modGraphic">
          <ac:chgData name="Rodrigues, Tiago" userId="bb4f08b6-fa1b-4acb-8395-29d5b9651b11" providerId="ADAL" clId="{9DD99C57-18C5-4929-A9A6-91ACD4324AAD}" dt="2021-04-16T09:21:49.824" v="3738" actId="20577"/>
          <ac:graphicFrameMkLst>
            <pc:docMk/>
            <pc:sldMk cId="2931543783" sldId="3139"/>
            <ac:graphicFrameMk id="2" creationId="{14924D12-C5B8-47B0-B98E-E66028E587C9}"/>
          </ac:graphicFrameMkLst>
        </pc:graphicFrameChg>
        <pc:graphicFrameChg chg="add del mod ord modVis">
          <ac:chgData name="Rodrigues, Tiago" userId="bb4f08b6-fa1b-4acb-8395-29d5b9651b11" providerId="ADAL" clId="{9DD99C57-18C5-4929-A9A6-91ACD4324AAD}" dt="2021-04-15T17:51:13.731" v="3343"/>
          <ac:graphicFrameMkLst>
            <pc:docMk/>
            <pc:sldMk cId="2931543783" sldId="3139"/>
            <ac:graphicFrameMk id="7" creationId="{8D263739-89EF-42CD-BAF0-143A28E1BC5A}"/>
          </ac:graphicFrameMkLst>
        </pc:graphicFrameChg>
        <pc:graphicFrameChg chg="add mod">
          <ac:chgData name="Rodrigues, Tiago" userId="bb4f08b6-fa1b-4acb-8395-29d5b9651b11" providerId="ADAL" clId="{9DD99C57-18C5-4929-A9A6-91ACD4324AAD}" dt="2021-04-15T17:52:07.886" v="3356" actId="571"/>
          <ac:graphicFrameMkLst>
            <pc:docMk/>
            <pc:sldMk cId="2931543783" sldId="3139"/>
            <ac:graphicFrameMk id="17" creationId="{B8E5D541-F42D-43C8-9768-EDD0286F2037}"/>
          </ac:graphicFrameMkLst>
        </pc:graphicFrameChg>
        <pc:picChg chg="add mod ord">
          <ac:chgData name="Rodrigues, Tiago" userId="bb4f08b6-fa1b-4acb-8395-29d5b9651b11" providerId="ADAL" clId="{9DD99C57-18C5-4929-A9A6-91ACD4324AAD}" dt="2021-04-15T18:00:07.839" v="3620" actId="1037"/>
          <ac:picMkLst>
            <pc:docMk/>
            <pc:sldMk cId="2931543783" sldId="3139"/>
            <ac:picMk id="9" creationId="{97E50A17-DF4D-42BB-930F-E83E1508D2CC}"/>
          </ac:picMkLst>
        </pc:picChg>
        <pc:picChg chg="add del mod">
          <ac:chgData name="Rodrigues, Tiago" userId="bb4f08b6-fa1b-4acb-8395-29d5b9651b11" providerId="ADAL" clId="{9DD99C57-18C5-4929-A9A6-91ACD4324AAD}" dt="2021-04-15T17:45:55.521" v="2859" actId="21"/>
          <ac:picMkLst>
            <pc:docMk/>
            <pc:sldMk cId="2931543783" sldId="3139"/>
            <ac:picMk id="11" creationId="{C3D75857-5BCC-4C3D-B839-19720872427E}"/>
          </ac:picMkLst>
        </pc:picChg>
        <pc:picChg chg="add del mod ord">
          <ac:chgData name="Rodrigues, Tiago" userId="bb4f08b6-fa1b-4acb-8395-29d5b9651b11" providerId="ADAL" clId="{9DD99C57-18C5-4929-A9A6-91ACD4324AAD}" dt="2021-04-15T18:00:07.839" v="3620" actId="1037"/>
          <ac:picMkLst>
            <pc:docMk/>
            <pc:sldMk cId="2931543783" sldId="3139"/>
            <ac:picMk id="12" creationId="{40FD09BF-BF1B-4DC5-9BAA-5E995FF4A676}"/>
          </ac:picMkLst>
        </pc:picChg>
        <pc:picChg chg="add del mod ord">
          <ac:chgData name="Rodrigues, Tiago" userId="bb4f08b6-fa1b-4acb-8395-29d5b9651b11" providerId="ADAL" clId="{9DD99C57-18C5-4929-A9A6-91ACD4324AAD}" dt="2021-04-15T18:00:07.839" v="3620" actId="1037"/>
          <ac:picMkLst>
            <pc:docMk/>
            <pc:sldMk cId="2931543783" sldId="3139"/>
            <ac:picMk id="13" creationId="{F1785221-532A-4940-968A-34138B133509}"/>
          </ac:picMkLst>
        </pc:picChg>
        <pc:picChg chg="add del">
          <ac:chgData name="Rodrigues, Tiago" userId="bb4f08b6-fa1b-4acb-8395-29d5b9651b11" providerId="ADAL" clId="{9DD99C57-18C5-4929-A9A6-91ACD4324AAD}" dt="2021-04-15T17:38:46.984" v="2219"/>
          <ac:picMkLst>
            <pc:docMk/>
            <pc:sldMk cId="2931543783" sldId="3139"/>
            <ac:picMk id="14" creationId="{89870362-FE61-4A71-8708-4B3BC6FE95B2}"/>
          </ac:picMkLst>
        </pc:picChg>
        <pc:picChg chg="add del mod">
          <ac:chgData name="Rodrigues, Tiago" userId="bb4f08b6-fa1b-4acb-8395-29d5b9651b11" providerId="ADAL" clId="{9DD99C57-18C5-4929-A9A6-91ACD4324AAD}" dt="2021-04-15T17:39:37.145" v="2744" actId="478"/>
          <ac:picMkLst>
            <pc:docMk/>
            <pc:sldMk cId="2931543783" sldId="3139"/>
            <ac:picMk id="16" creationId="{3AB42FDF-5709-48F7-B3BA-73A1F6E35D8F}"/>
          </ac:picMkLst>
        </pc:picChg>
        <pc:picChg chg="add mod">
          <ac:chgData name="Rodrigues, Tiago" userId="bb4f08b6-fa1b-4acb-8395-29d5b9651b11" providerId="ADAL" clId="{9DD99C57-18C5-4929-A9A6-91ACD4324AAD}" dt="2021-04-15T17:52:07.886" v="3356" actId="571"/>
          <ac:picMkLst>
            <pc:docMk/>
            <pc:sldMk cId="2931543783" sldId="3139"/>
            <ac:picMk id="18" creationId="{4098203C-39BC-437D-BF97-A5C3983025D5}"/>
          </ac:picMkLst>
        </pc:picChg>
        <pc:picChg chg="add mod">
          <ac:chgData name="Rodrigues, Tiago" userId="bb4f08b6-fa1b-4acb-8395-29d5b9651b11" providerId="ADAL" clId="{9DD99C57-18C5-4929-A9A6-91ACD4324AAD}" dt="2021-04-15T17:52:07.886" v="3356" actId="571"/>
          <ac:picMkLst>
            <pc:docMk/>
            <pc:sldMk cId="2931543783" sldId="3139"/>
            <ac:picMk id="19" creationId="{9AE4729F-87B6-4A78-8052-DF2ECD587F8E}"/>
          </ac:picMkLst>
        </pc:picChg>
        <pc:picChg chg="add mod">
          <ac:chgData name="Rodrigues, Tiago" userId="bb4f08b6-fa1b-4acb-8395-29d5b9651b11" providerId="ADAL" clId="{9DD99C57-18C5-4929-A9A6-91ACD4324AAD}" dt="2021-04-15T17:52:07.886" v="3356" actId="571"/>
          <ac:picMkLst>
            <pc:docMk/>
            <pc:sldMk cId="2931543783" sldId="3139"/>
            <ac:picMk id="20" creationId="{6A57CBAF-E6DF-47EC-A6C1-78A772A398D7}"/>
          </ac:picMkLst>
        </pc:picChg>
        <pc:picChg chg="add mod">
          <ac:chgData name="Rodrigues, Tiago" userId="bb4f08b6-fa1b-4acb-8395-29d5b9651b11" providerId="ADAL" clId="{9DD99C57-18C5-4929-A9A6-91ACD4324AAD}" dt="2021-04-15T17:52:07.886" v="3356" actId="571"/>
          <ac:picMkLst>
            <pc:docMk/>
            <pc:sldMk cId="2931543783" sldId="3139"/>
            <ac:picMk id="21" creationId="{9FEFDD93-F43E-4A7E-B7AD-6FD4731DAC80}"/>
          </ac:picMkLst>
        </pc:picChg>
        <pc:picChg chg="add mod">
          <ac:chgData name="Rodrigues, Tiago" userId="bb4f08b6-fa1b-4acb-8395-29d5b9651b11" providerId="ADAL" clId="{9DD99C57-18C5-4929-A9A6-91ACD4324AAD}" dt="2021-04-15T17:52:07.886" v="3356" actId="571"/>
          <ac:picMkLst>
            <pc:docMk/>
            <pc:sldMk cId="2931543783" sldId="3139"/>
            <ac:picMk id="22" creationId="{97CBDDA2-3A32-4569-9BEA-2DC18C335087}"/>
          </ac:picMkLst>
        </pc:picChg>
        <pc:picChg chg="add mod">
          <ac:chgData name="Rodrigues, Tiago" userId="bb4f08b6-fa1b-4acb-8395-29d5b9651b11" providerId="ADAL" clId="{9DD99C57-18C5-4929-A9A6-91ACD4324AAD}" dt="2021-04-15T18:00:07.839" v="3620" actId="1037"/>
          <ac:picMkLst>
            <pc:docMk/>
            <pc:sldMk cId="2931543783" sldId="3139"/>
            <ac:picMk id="1026" creationId="{A3066838-EF44-4DFF-B00B-51AC8CBE2A1A}"/>
          </ac:picMkLst>
        </pc:picChg>
        <pc:picChg chg="add mod">
          <ac:chgData name="Rodrigues, Tiago" userId="bb4f08b6-fa1b-4acb-8395-29d5b9651b11" providerId="ADAL" clId="{9DD99C57-18C5-4929-A9A6-91ACD4324AAD}" dt="2021-04-15T18:00:07.839" v="3620" actId="1037"/>
          <ac:picMkLst>
            <pc:docMk/>
            <pc:sldMk cId="2931543783" sldId="3139"/>
            <ac:picMk id="1028" creationId="{F5ACCB99-B9ED-4CCD-BE74-25D2C737C707}"/>
          </ac:picMkLst>
        </pc:picChg>
        <pc:picChg chg="add del">
          <ac:chgData name="Rodrigues, Tiago" userId="bb4f08b6-fa1b-4acb-8395-29d5b9651b11" providerId="ADAL" clId="{9DD99C57-18C5-4929-A9A6-91ACD4324AAD}" dt="2021-04-15T17:38:37.697" v="2215"/>
          <ac:picMkLst>
            <pc:docMk/>
            <pc:sldMk cId="2931543783" sldId="3139"/>
            <ac:picMk id="14338" creationId="{A52B01FC-BFC7-433B-9759-CDF6D631BC9C}"/>
          </ac:picMkLst>
        </pc:picChg>
        <pc:picChg chg="add del">
          <ac:chgData name="Rodrigues, Tiago" userId="bb4f08b6-fa1b-4acb-8395-29d5b9651b11" providerId="ADAL" clId="{9DD99C57-18C5-4929-A9A6-91ACD4324AAD}" dt="2021-04-15T17:38:42.991" v="2217"/>
          <ac:picMkLst>
            <pc:docMk/>
            <pc:sldMk cId="2931543783" sldId="3139"/>
            <ac:picMk id="14340" creationId="{8869266C-CFCB-4E8D-A3D6-D966B6BF4421}"/>
          </ac:picMkLst>
        </pc:picChg>
        <pc:cxnChg chg="add mod">
          <ac:chgData name="Rodrigues, Tiago" userId="bb4f08b6-fa1b-4acb-8395-29d5b9651b11" providerId="ADAL" clId="{9DD99C57-18C5-4929-A9A6-91ACD4324AAD}" dt="2021-04-15T18:03:44.158" v="3685" actId="14100"/>
          <ac:cxnSpMkLst>
            <pc:docMk/>
            <pc:sldMk cId="2931543783" sldId="3139"/>
            <ac:cxnSpMk id="23" creationId="{C95991B3-7F72-4BEA-91BD-109FBB02BB4E}"/>
          </ac:cxnSpMkLst>
        </pc:cxnChg>
      </pc:sldChg>
    </pc:docChg>
  </pc:docChgLst>
  <pc:docChgLst>
    <pc:chgData name="Ayyash, Aciele" userId="d3b6e59f-bf78-40c2-9728-97caa8495834" providerId="ADAL" clId="{4E652BFF-DEBB-4E9D-8505-EBA4C9EBAE0B}"/>
    <pc:docChg chg="undo custSel addSld delSld modSld modSection">
      <pc:chgData name="Ayyash, Aciele" userId="d3b6e59f-bf78-40c2-9728-97caa8495834" providerId="ADAL" clId="{4E652BFF-DEBB-4E9D-8505-EBA4C9EBAE0B}" dt="2021-04-16T12:58:03.952" v="7365" actId="20577"/>
      <pc:docMkLst>
        <pc:docMk/>
      </pc:docMkLst>
      <pc:sldChg chg="addSp delSp modSp">
        <pc:chgData name="Ayyash, Aciele" userId="d3b6e59f-bf78-40c2-9728-97caa8495834" providerId="ADAL" clId="{4E652BFF-DEBB-4E9D-8505-EBA4C9EBAE0B}" dt="2021-04-16T09:21:54.880" v="6967" actId="1076"/>
        <pc:sldMkLst>
          <pc:docMk/>
          <pc:sldMk cId="2306799809" sldId="601"/>
        </pc:sldMkLst>
        <pc:spChg chg="mod ord">
          <ac:chgData name="Ayyash, Aciele" userId="d3b6e59f-bf78-40c2-9728-97caa8495834" providerId="ADAL" clId="{4E652BFF-DEBB-4E9D-8505-EBA4C9EBAE0B}" dt="2021-04-15T09:42:19.298" v="34"/>
          <ac:spMkLst>
            <pc:docMk/>
            <pc:sldMk cId="2306799809" sldId="601"/>
            <ac:spMk id="2" creationId="{00000000-0000-0000-0000-000000000000}"/>
          </ac:spMkLst>
        </pc:spChg>
        <pc:spChg chg="add mod ord modVis">
          <ac:chgData name="Ayyash, Aciele" userId="d3b6e59f-bf78-40c2-9728-97caa8495834" providerId="ADAL" clId="{4E652BFF-DEBB-4E9D-8505-EBA4C9EBAE0B}" dt="2021-04-15T09:42:19.296" v="32"/>
          <ac:spMkLst>
            <pc:docMk/>
            <pc:sldMk cId="2306799809" sldId="601"/>
            <ac:spMk id="4" creationId="{4E2FF41C-94C4-4F5D-AEE1-B1589E0E996B}"/>
          </ac:spMkLst>
        </pc:spChg>
        <pc:spChg chg="add del">
          <ac:chgData name="Ayyash, Aciele" userId="d3b6e59f-bf78-40c2-9728-97caa8495834" providerId="ADAL" clId="{4E652BFF-DEBB-4E9D-8505-EBA4C9EBAE0B}" dt="2021-04-16T09:21:16.038" v="6962"/>
          <ac:spMkLst>
            <pc:docMk/>
            <pc:sldMk cId="2306799809" sldId="601"/>
            <ac:spMk id="5" creationId="{CEF58287-2FA3-4D20-821B-2CF9965FC472}"/>
          </ac:spMkLst>
        </pc:spChg>
        <pc:spChg chg="add del mod">
          <ac:chgData name="Ayyash, Aciele" userId="d3b6e59f-bf78-40c2-9728-97caa8495834" providerId="ADAL" clId="{4E652BFF-DEBB-4E9D-8505-EBA4C9EBAE0B}" dt="2021-04-16T09:21:47.053" v="6966"/>
          <ac:spMkLst>
            <pc:docMk/>
            <pc:sldMk cId="2306799809" sldId="601"/>
            <ac:spMk id="6" creationId="{9E5AA7CD-8C0A-41CE-8BC8-A416388F9659}"/>
          </ac:spMkLst>
        </pc:spChg>
        <pc:spChg chg="add mod">
          <ac:chgData name="Ayyash, Aciele" userId="d3b6e59f-bf78-40c2-9728-97caa8495834" providerId="ADAL" clId="{4E652BFF-DEBB-4E9D-8505-EBA4C9EBAE0B}" dt="2021-04-16T09:21:54.880" v="6967" actId="1076"/>
          <ac:spMkLst>
            <pc:docMk/>
            <pc:sldMk cId="2306799809" sldId="601"/>
            <ac:spMk id="10" creationId="{F06AEB62-32F9-4C73-B355-2972988F8D8F}"/>
          </ac:spMkLst>
        </pc:spChg>
        <pc:spChg chg="mod">
          <ac:chgData name="Ayyash, Aciele" userId="d3b6e59f-bf78-40c2-9728-97caa8495834" providerId="ADAL" clId="{4E652BFF-DEBB-4E9D-8505-EBA4C9EBAE0B}" dt="2021-04-15T09:42:20.876" v="46" actId="20577"/>
          <ac:spMkLst>
            <pc:docMk/>
            <pc:sldMk cId="2306799809" sldId="601"/>
            <ac:spMk id="24" creationId="{D11F48BE-96B2-4B10-82E2-0149C7A9017D}"/>
          </ac:spMkLst>
        </pc:spChg>
        <pc:spChg chg="del mod">
          <ac:chgData name="Ayyash, Aciele" userId="d3b6e59f-bf78-40c2-9728-97caa8495834" providerId="ADAL" clId="{4E652BFF-DEBB-4E9D-8505-EBA4C9EBAE0B}" dt="2021-04-16T09:21:44.683" v="6965"/>
          <ac:spMkLst>
            <pc:docMk/>
            <pc:sldMk cId="2306799809" sldId="601"/>
            <ac:spMk id="25" creationId="{FD606F69-44F1-45F4-B0E8-B3ECBFA14AB6}"/>
          </ac:spMkLst>
        </pc:spChg>
        <pc:graphicFrameChg chg="mod ord">
          <ac:chgData name="Ayyash, Aciele" userId="d3b6e59f-bf78-40c2-9728-97caa8495834" providerId="ADAL" clId="{4E652BFF-DEBB-4E9D-8505-EBA4C9EBAE0B}" dt="2021-04-15T09:42:21.386" v="48"/>
          <ac:graphicFrameMkLst>
            <pc:docMk/>
            <pc:sldMk cId="2306799809" sldId="601"/>
            <ac:graphicFrameMk id="3" creationId="{00000000-0000-0000-0000-000000000000}"/>
          </ac:graphicFrameMkLst>
        </pc:graphicFrameChg>
        <pc:picChg chg="mod">
          <ac:chgData name="Ayyash, Aciele" userId="d3b6e59f-bf78-40c2-9728-97caa8495834" providerId="ADAL" clId="{4E652BFF-DEBB-4E9D-8505-EBA4C9EBAE0B}" dt="2021-04-15T09:42:19.301" v="38"/>
          <ac:picMkLst>
            <pc:docMk/>
            <pc:sldMk cId="2306799809" sldId="601"/>
            <ac:picMk id="14" creationId="{00000000-0000-0000-0000-000000000000}"/>
          </ac:picMkLst>
        </pc:picChg>
        <pc:picChg chg="mod">
          <ac:chgData name="Ayyash, Aciele" userId="d3b6e59f-bf78-40c2-9728-97caa8495834" providerId="ADAL" clId="{4E652BFF-DEBB-4E9D-8505-EBA4C9EBAE0B}" dt="2021-04-15T09:42:19.299" v="35"/>
          <ac:picMkLst>
            <pc:docMk/>
            <pc:sldMk cId="2306799809" sldId="601"/>
            <ac:picMk id="16" creationId="{F97C5612-773A-4623-A669-371D58767786}"/>
          </ac:picMkLst>
        </pc:picChg>
      </pc:sldChg>
      <pc:sldChg chg="del">
        <pc:chgData name="Ayyash, Aciele" userId="d3b6e59f-bf78-40c2-9728-97caa8495834" providerId="ADAL" clId="{4E652BFF-DEBB-4E9D-8505-EBA4C9EBAE0B}" dt="2021-04-15T16:04:51.369" v="1822" actId="2696"/>
        <pc:sldMkLst>
          <pc:docMk/>
          <pc:sldMk cId="3575068220" sldId="767"/>
        </pc:sldMkLst>
      </pc:sldChg>
      <pc:sldChg chg="del">
        <pc:chgData name="Ayyash, Aciele" userId="d3b6e59f-bf78-40c2-9728-97caa8495834" providerId="ADAL" clId="{4E652BFF-DEBB-4E9D-8505-EBA4C9EBAE0B}" dt="2021-04-15T16:04:48.237" v="1821" actId="2696"/>
        <pc:sldMkLst>
          <pc:docMk/>
          <pc:sldMk cId="600793728" sldId="768"/>
        </pc:sldMkLst>
      </pc:sldChg>
      <pc:sldChg chg="modSp">
        <pc:chgData name="Ayyash, Aciele" userId="d3b6e59f-bf78-40c2-9728-97caa8495834" providerId="ADAL" clId="{4E652BFF-DEBB-4E9D-8505-EBA4C9EBAE0B}" dt="2021-04-16T12:58:03.952" v="7365" actId="20577"/>
        <pc:sldMkLst>
          <pc:docMk/>
          <pc:sldMk cId="2935024881" sldId="769"/>
        </pc:sldMkLst>
        <pc:spChg chg="mod">
          <ac:chgData name="Ayyash, Aciele" userId="d3b6e59f-bf78-40c2-9728-97caa8495834" providerId="ADAL" clId="{4E652BFF-DEBB-4E9D-8505-EBA4C9EBAE0B}" dt="2021-04-16T12:01:42.021" v="7067" actId="20577"/>
          <ac:spMkLst>
            <pc:docMk/>
            <pc:sldMk cId="2935024881" sldId="769"/>
            <ac:spMk id="3" creationId="{00000000-0000-0000-0000-000000000000}"/>
          </ac:spMkLst>
        </pc:spChg>
        <pc:spChg chg="mod">
          <ac:chgData name="Ayyash, Aciele" userId="d3b6e59f-bf78-40c2-9728-97caa8495834" providerId="ADAL" clId="{4E652BFF-DEBB-4E9D-8505-EBA4C9EBAE0B}" dt="2021-04-16T12:00:45.790" v="7006" actId="6549"/>
          <ac:spMkLst>
            <pc:docMk/>
            <pc:sldMk cId="2935024881" sldId="769"/>
            <ac:spMk id="5" creationId="{00000000-0000-0000-0000-000000000000}"/>
          </ac:spMkLst>
        </pc:spChg>
        <pc:spChg chg="mod">
          <ac:chgData name="Ayyash, Aciele" userId="d3b6e59f-bf78-40c2-9728-97caa8495834" providerId="ADAL" clId="{4E652BFF-DEBB-4E9D-8505-EBA4C9EBAE0B}" dt="2021-04-16T12:58:03.952" v="7365" actId="20577"/>
          <ac:spMkLst>
            <pc:docMk/>
            <pc:sldMk cId="2935024881" sldId="769"/>
            <ac:spMk id="17" creationId="{DBD63728-3A97-4549-A4D8-921897D8A74E}"/>
          </ac:spMkLst>
        </pc:spChg>
        <pc:graphicFrameChg chg="mod">
          <ac:chgData name="Ayyash, Aciele" userId="d3b6e59f-bf78-40c2-9728-97caa8495834" providerId="ADAL" clId="{4E652BFF-DEBB-4E9D-8505-EBA4C9EBAE0B}" dt="2021-04-16T12:01:42.537" v="7069"/>
          <ac:graphicFrameMkLst>
            <pc:docMk/>
            <pc:sldMk cId="2935024881" sldId="769"/>
            <ac:graphicFrameMk id="6" creationId="{00000000-0000-0000-0000-000000000000}"/>
          </ac:graphicFrameMkLst>
        </pc:graphicFrameChg>
      </pc:sldChg>
      <pc:sldChg chg="addSp modSp">
        <pc:chgData name="Ayyash, Aciele" userId="d3b6e59f-bf78-40c2-9728-97caa8495834" providerId="ADAL" clId="{4E652BFF-DEBB-4E9D-8505-EBA4C9EBAE0B}" dt="2021-04-16T09:03:26.255" v="4096" actId="1076"/>
        <pc:sldMkLst>
          <pc:docMk/>
          <pc:sldMk cId="3268310890" sldId="781"/>
        </pc:sldMkLst>
        <pc:spChg chg="add mod">
          <ac:chgData name="Ayyash, Aciele" userId="d3b6e59f-bf78-40c2-9728-97caa8495834" providerId="ADAL" clId="{4E652BFF-DEBB-4E9D-8505-EBA4C9EBAE0B}" dt="2021-04-16T09:03:26.255" v="4096" actId="1076"/>
          <ac:spMkLst>
            <pc:docMk/>
            <pc:sldMk cId="3268310890" sldId="781"/>
            <ac:spMk id="2" creationId="{6A924AA4-46AB-4168-817C-47678E7357F8}"/>
          </ac:spMkLst>
        </pc:spChg>
        <pc:spChg chg="mod">
          <ac:chgData name="Ayyash, Aciele" userId="d3b6e59f-bf78-40c2-9728-97caa8495834" providerId="ADAL" clId="{4E652BFF-DEBB-4E9D-8505-EBA4C9EBAE0B}" dt="2021-04-16T09:03:20.300" v="4095" actId="1076"/>
          <ac:spMkLst>
            <pc:docMk/>
            <pc:sldMk cId="3268310890" sldId="781"/>
            <ac:spMk id="59" creationId="{B7F5DFE9-CCCC-4446-9E72-3979417D91B8}"/>
          </ac:spMkLst>
        </pc:spChg>
      </pc:sldChg>
      <pc:sldChg chg="addSp delSp modSp">
        <pc:chgData name="Ayyash, Aciele" userId="d3b6e59f-bf78-40c2-9728-97caa8495834" providerId="ADAL" clId="{4E652BFF-DEBB-4E9D-8505-EBA4C9EBAE0B}" dt="2021-04-16T12:12:54.601" v="7091" actId="20577"/>
        <pc:sldMkLst>
          <pc:docMk/>
          <pc:sldMk cId="3782136319" sldId="782"/>
        </pc:sldMkLst>
        <pc:spChg chg="mod ord">
          <ac:chgData name="Ayyash, Aciele" userId="d3b6e59f-bf78-40c2-9728-97caa8495834" providerId="ADAL" clId="{4E652BFF-DEBB-4E9D-8505-EBA4C9EBAE0B}" dt="2021-04-16T09:20:16.641" v="6919"/>
          <ac:spMkLst>
            <pc:docMk/>
            <pc:sldMk cId="3782136319" sldId="782"/>
            <ac:spMk id="5" creationId="{00000000-0000-0000-0000-000000000000}"/>
          </ac:spMkLst>
        </pc:spChg>
        <pc:spChg chg="mod">
          <ac:chgData name="Ayyash, Aciele" userId="d3b6e59f-bf78-40c2-9728-97caa8495834" providerId="ADAL" clId="{4E652BFF-DEBB-4E9D-8505-EBA4C9EBAE0B}" dt="2021-04-16T09:20:16.641" v="6920"/>
          <ac:spMkLst>
            <pc:docMk/>
            <pc:sldMk cId="3782136319" sldId="782"/>
            <ac:spMk id="20" creationId="{45673D51-75F5-4886-9A0E-36D09AE9C699}"/>
          </ac:spMkLst>
        </pc:spChg>
        <pc:spChg chg="add mod ord">
          <ac:chgData name="Ayyash, Aciele" userId="d3b6e59f-bf78-40c2-9728-97caa8495834" providerId="ADAL" clId="{4E652BFF-DEBB-4E9D-8505-EBA4C9EBAE0B}" dt="2021-04-16T09:20:16.672" v="6955"/>
          <ac:spMkLst>
            <pc:docMk/>
            <pc:sldMk cId="3782136319" sldId="782"/>
            <ac:spMk id="24" creationId="{BF3B13DC-DEA9-4728-9A7B-57E2C4C11B47}"/>
          </ac:spMkLst>
        </pc:spChg>
        <pc:spChg chg="add mod">
          <ac:chgData name="Ayyash, Aciele" userId="d3b6e59f-bf78-40c2-9728-97caa8495834" providerId="ADAL" clId="{4E652BFF-DEBB-4E9D-8505-EBA4C9EBAE0B}" dt="2021-04-15T11:21:20.704" v="1071"/>
          <ac:spMkLst>
            <pc:docMk/>
            <pc:sldMk cId="3782136319" sldId="782"/>
            <ac:spMk id="27" creationId="{3A7800AB-B65C-4403-90C0-C71B61B3F25F}"/>
          </ac:spMkLst>
        </pc:spChg>
        <pc:spChg chg="add mod">
          <ac:chgData name="Ayyash, Aciele" userId="d3b6e59f-bf78-40c2-9728-97caa8495834" providerId="ADAL" clId="{4E652BFF-DEBB-4E9D-8505-EBA4C9EBAE0B}" dt="2021-04-15T11:21:20.704" v="1071"/>
          <ac:spMkLst>
            <pc:docMk/>
            <pc:sldMk cId="3782136319" sldId="782"/>
            <ac:spMk id="28" creationId="{0C115B09-A84A-4532-9AED-1D0B45EA3500}"/>
          </ac:spMkLst>
        </pc:spChg>
        <pc:spChg chg="add mod">
          <ac:chgData name="Ayyash, Aciele" userId="d3b6e59f-bf78-40c2-9728-97caa8495834" providerId="ADAL" clId="{4E652BFF-DEBB-4E9D-8505-EBA4C9EBAE0B}" dt="2021-04-15T11:21:20.704" v="1071"/>
          <ac:spMkLst>
            <pc:docMk/>
            <pc:sldMk cId="3782136319" sldId="782"/>
            <ac:spMk id="29" creationId="{FB9D0496-2E9F-4573-A2EA-9951CF317E47}"/>
          </ac:spMkLst>
        </pc:spChg>
        <pc:spChg chg="add mod">
          <ac:chgData name="Ayyash, Aciele" userId="d3b6e59f-bf78-40c2-9728-97caa8495834" providerId="ADAL" clId="{4E652BFF-DEBB-4E9D-8505-EBA4C9EBAE0B}" dt="2021-04-15T11:21:20.704" v="1071"/>
          <ac:spMkLst>
            <pc:docMk/>
            <pc:sldMk cId="3782136319" sldId="782"/>
            <ac:spMk id="30" creationId="{8903AD05-EA9D-4496-B9AD-D6D1F455B613}"/>
          </ac:spMkLst>
        </pc:spChg>
        <pc:spChg chg="mod">
          <ac:chgData name="Ayyash, Aciele" userId="d3b6e59f-bf78-40c2-9728-97caa8495834" providerId="ADAL" clId="{4E652BFF-DEBB-4E9D-8505-EBA4C9EBAE0B}" dt="2021-04-16T09:20:16.671" v="6953"/>
          <ac:spMkLst>
            <pc:docMk/>
            <pc:sldMk cId="3782136319" sldId="782"/>
            <ac:spMk id="31" creationId="{492CEF56-AE26-498D-8E00-BB5D635CDFB2}"/>
          </ac:spMkLst>
        </pc:spChg>
        <pc:spChg chg="add mod">
          <ac:chgData name="Ayyash, Aciele" userId="d3b6e59f-bf78-40c2-9728-97caa8495834" providerId="ADAL" clId="{4E652BFF-DEBB-4E9D-8505-EBA4C9EBAE0B}" dt="2021-04-15T11:21:20.704" v="1071"/>
          <ac:spMkLst>
            <pc:docMk/>
            <pc:sldMk cId="3782136319" sldId="782"/>
            <ac:spMk id="32" creationId="{CB075C1E-482A-45B7-9038-E1C629D2A375}"/>
          </ac:spMkLst>
        </pc:spChg>
        <pc:spChg chg="add mod">
          <ac:chgData name="Ayyash, Aciele" userId="d3b6e59f-bf78-40c2-9728-97caa8495834" providerId="ADAL" clId="{4E652BFF-DEBB-4E9D-8505-EBA4C9EBAE0B}" dt="2021-04-15T11:21:20.704" v="1071"/>
          <ac:spMkLst>
            <pc:docMk/>
            <pc:sldMk cId="3782136319" sldId="782"/>
            <ac:spMk id="33" creationId="{3BCD1BBB-3BDD-4FB7-A0AD-055583F7042E}"/>
          </ac:spMkLst>
        </pc:spChg>
        <pc:spChg chg="add mod">
          <ac:chgData name="Ayyash, Aciele" userId="d3b6e59f-bf78-40c2-9728-97caa8495834" providerId="ADAL" clId="{4E652BFF-DEBB-4E9D-8505-EBA4C9EBAE0B}" dt="2021-04-15T11:21:20.704" v="1071"/>
          <ac:spMkLst>
            <pc:docMk/>
            <pc:sldMk cId="3782136319" sldId="782"/>
            <ac:spMk id="34" creationId="{DC3ED2B9-7B90-4C90-A984-7A3890796A8B}"/>
          </ac:spMkLst>
        </pc:spChg>
        <pc:spChg chg="add del mod">
          <ac:chgData name="Ayyash, Aciele" userId="d3b6e59f-bf78-40c2-9728-97caa8495834" providerId="ADAL" clId="{4E652BFF-DEBB-4E9D-8505-EBA4C9EBAE0B}" dt="2021-04-16T09:00:01.755" v="3635"/>
          <ac:spMkLst>
            <pc:docMk/>
            <pc:sldMk cId="3782136319" sldId="782"/>
            <ac:spMk id="36" creationId="{CE93BED0-F59C-4505-AA15-DD78646CBED4}"/>
          </ac:spMkLst>
        </pc:spChg>
        <pc:spChg chg="add del mod">
          <ac:chgData name="Ayyash, Aciele" userId="d3b6e59f-bf78-40c2-9728-97caa8495834" providerId="ADAL" clId="{4E652BFF-DEBB-4E9D-8505-EBA4C9EBAE0B}" dt="2021-04-16T09:00:01.880" v="3755"/>
          <ac:spMkLst>
            <pc:docMk/>
            <pc:sldMk cId="3782136319" sldId="782"/>
            <ac:spMk id="37" creationId="{D7F497E4-5DE3-436F-8D7F-DDD9AFEEC3A1}"/>
          </ac:spMkLst>
        </pc:spChg>
        <pc:spChg chg="add del mod">
          <ac:chgData name="Ayyash, Aciele" userId="d3b6e59f-bf78-40c2-9728-97caa8495834" providerId="ADAL" clId="{4E652BFF-DEBB-4E9D-8505-EBA4C9EBAE0B}" dt="2021-04-16T09:00:01.936" v="3798"/>
          <ac:spMkLst>
            <pc:docMk/>
            <pc:sldMk cId="3782136319" sldId="782"/>
            <ac:spMk id="38" creationId="{EC4BDFBC-5580-4890-BADE-82A0D0123E5C}"/>
          </ac:spMkLst>
        </pc:spChg>
        <pc:spChg chg="add mod">
          <ac:chgData name="Ayyash, Aciele" userId="d3b6e59f-bf78-40c2-9728-97caa8495834" providerId="ADAL" clId="{4E652BFF-DEBB-4E9D-8505-EBA4C9EBAE0B}" dt="2021-04-16T09:20:16.645" v="6924"/>
          <ac:spMkLst>
            <pc:docMk/>
            <pc:sldMk cId="3782136319" sldId="782"/>
            <ac:spMk id="41" creationId="{CAA25322-622D-4AE6-B692-AC80D89BA2B7}"/>
          </ac:spMkLst>
        </pc:spChg>
        <pc:spChg chg="add mod">
          <ac:chgData name="Ayyash, Aciele" userId="d3b6e59f-bf78-40c2-9728-97caa8495834" providerId="ADAL" clId="{4E652BFF-DEBB-4E9D-8505-EBA4C9EBAE0B}" dt="2021-04-16T09:20:16.650" v="6929"/>
          <ac:spMkLst>
            <pc:docMk/>
            <pc:sldMk cId="3782136319" sldId="782"/>
            <ac:spMk id="42" creationId="{94E484D0-45A9-463B-A012-4F37C452E8DC}"/>
          </ac:spMkLst>
        </pc:spChg>
        <pc:spChg chg="add mod">
          <ac:chgData name="Ayyash, Aciele" userId="d3b6e59f-bf78-40c2-9728-97caa8495834" providerId="ADAL" clId="{4E652BFF-DEBB-4E9D-8505-EBA4C9EBAE0B}" dt="2021-04-16T09:20:16.651" v="6930"/>
          <ac:spMkLst>
            <pc:docMk/>
            <pc:sldMk cId="3782136319" sldId="782"/>
            <ac:spMk id="43" creationId="{FC38D865-A73B-47FF-9E30-E6BD835158E4}"/>
          </ac:spMkLst>
        </pc:spChg>
        <pc:spChg chg="add mod">
          <ac:chgData name="Ayyash, Aciele" userId="d3b6e59f-bf78-40c2-9728-97caa8495834" providerId="ADAL" clId="{4E652BFF-DEBB-4E9D-8505-EBA4C9EBAE0B}" dt="2021-04-16T09:20:16.652" v="6932"/>
          <ac:spMkLst>
            <pc:docMk/>
            <pc:sldMk cId="3782136319" sldId="782"/>
            <ac:spMk id="44" creationId="{22339858-AAD6-4B90-B285-5515299301DF}"/>
          </ac:spMkLst>
        </pc:spChg>
        <pc:spChg chg="add mod">
          <ac:chgData name="Ayyash, Aciele" userId="d3b6e59f-bf78-40c2-9728-97caa8495834" providerId="ADAL" clId="{4E652BFF-DEBB-4E9D-8505-EBA4C9EBAE0B}" dt="2021-04-16T09:20:16.653" v="6933"/>
          <ac:spMkLst>
            <pc:docMk/>
            <pc:sldMk cId="3782136319" sldId="782"/>
            <ac:spMk id="45" creationId="{7EA25B9B-9898-41DD-A0F9-A30A2EFD56F3}"/>
          </ac:spMkLst>
        </pc:spChg>
        <pc:spChg chg="add mod">
          <ac:chgData name="Ayyash, Aciele" userId="d3b6e59f-bf78-40c2-9728-97caa8495834" providerId="ADAL" clId="{4E652BFF-DEBB-4E9D-8505-EBA4C9EBAE0B}" dt="2021-04-16T09:20:16.655" v="6936"/>
          <ac:spMkLst>
            <pc:docMk/>
            <pc:sldMk cId="3782136319" sldId="782"/>
            <ac:spMk id="46" creationId="{8AFC3DC3-D569-4C77-8A5D-1E00F50080DC}"/>
          </ac:spMkLst>
        </pc:spChg>
        <pc:spChg chg="add mod">
          <ac:chgData name="Ayyash, Aciele" userId="d3b6e59f-bf78-40c2-9728-97caa8495834" providerId="ADAL" clId="{4E652BFF-DEBB-4E9D-8505-EBA4C9EBAE0B}" dt="2021-04-16T09:20:16.655" v="6935"/>
          <ac:spMkLst>
            <pc:docMk/>
            <pc:sldMk cId="3782136319" sldId="782"/>
            <ac:spMk id="47" creationId="{E8E169E5-9E3A-486E-91EA-D27F150C60DC}"/>
          </ac:spMkLst>
        </pc:spChg>
        <pc:spChg chg="add del mod">
          <ac:chgData name="Ayyash, Aciele" userId="d3b6e59f-bf78-40c2-9728-97caa8495834" providerId="ADAL" clId="{4E652BFF-DEBB-4E9D-8505-EBA4C9EBAE0B}" dt="2021-04-16T09:02:11.361" v="3937"/>
          <ac:spMkLst>
            <pc:docMk/>
            <pc:sldMk cId="3782136319" sldId="782"/>
            <ac:spMk id="64" creationId="{AE2B5B9D-0535-4CAA-9061-0121DBE6B98C}"/>
          </ac:spMkLst>
        </pc:spChg>
        <pc:spChg chg="add mod">
          <ac:chgData name="Ayyash, Aciele" userId="d3b6e59f-bf78-40c2-9728-97caa8495834" providerId="ADAL" clId="{4E652BFF-DEBB-4E9D-8505-EBA4C9EBAE0B}" dt="2021-04-16T09:20:16.676" v="6958"/>
          <ac:spMkLst>
            <pc:docMk/>
            <pc:sldMk cId="3782136319" sldId="782"/>
            <ac:spMk id="65" creationId="{946BEFC3-3AD1-4DE6-9D01-C1D84586BD3A}"/>
          </ac:spMkLst>
        </pc:spChg>
        <pc:spChg chg="add mod">
          <ac:chgData name="Ayyash, Aciele" userId="d3b6e59f-bf78-40c2-9728-97caa8495834" providerId="ADAL" clId="{4E652BFF-DEBB-4E9D-8505-EBA4C9EBAE0B}" dt="2021-04-16T09:20:16.657" v="6938"/>
          <ac:spMkLst>
            <pc:docMk/>
            <pc:sldMk cId="3782136319" sldId="782"/>
            <ac:spMk id="71" creationId="{1D11EC92-681A-45CD-AE6B-3329AE32D9FE}"/>
          </ac:spMkLst>
        </pc:spChg>
        <pc:spChg chg="add del mod">
          <ac:chgData name="Ayyash, Aciele" userId="d3b6e59f-bf78-40c2-9728-97caa8495834" providerId="ADAL" clId="{4E652BFF-DEBB-4E9D-8505-EBA4C9EBAE0B}" dt="2021-04-16T09:14:59.442" v="5972"/>
          <ac:spMkLst>
            <pc:docMk/>
            <pc:sldMk cId="3782136319" sldId="782"/>
            <ac:spMk id="73" creationId="{A06E969F-1F35-48F6-AA82-BE3F526A8AB8}"/>
          </ac:spMkLst>
        </pc:spChg>
        <pc:spChg chg="add del mod">
          <ac:chgData name="Ayyash, Aciele" userId="d3b6e59f-bf78-40c2-9728-97caa8495834" providerId="ADAL" clId="{4E652BFF-DEBB-4E9D-8505-EBA4C9EBAE0B}" dt="2021-04-16T09:14:59.454" v="5982"/>
          <ac:spMkLst>
            <pc:docMk/>
            <pc:sldMk cId="3782136319" sldId="782"/>
            <ac:spMk id="74" creationId="{096CDD66-49C5-48EC-84B7-3E9AEFEFC2F5}"/>
          </ac:spMkLst>
        </pc:spChg>
        <pc:spChg chg="add del mod">
          <ac:chgData name="Ayyash, Aciele" userId="d3b6e59f-bf78-40c2-9728-97caa8495834" providerId="ADAL" clId="{4E652BFF-DEBB-4E9D-8505-EBA4C9EBAE0B}" dt="2021-04-16T09:14:59.491" v="6017"/>
          <ac:spMkLst>
            <pc:docMk/>
            <pc:sldMk cId="3782136319" sldId="782"/>
            <ac:spMk id="75" creationId="{F18CAEEB-EDF5-4149-B7DD-E39E50EAB372}"/>
          </ac:spMkLst>
        </pc:spChg>
        <pc:spChg chg="add del mod">
          <ac:chgData name="Ayyash, Aciele" userId="d3b6e59f-bf78-40c2-9728-97caa8495834" providerId="ADAL" clId="{4E652BFF-DEBB-4E9D-8505-EBA4C9EBAE0B}" dt="2021-04-16T09:14:59.503" v="6027"/>
          <ac:spMkLst>
            <pc:docMk/>
            <pc:sldMk cId="3782136319" sldId="782"/>
            <ac:spMk id="76" creationId="{B732462F-9E57-4136-91AE-07A3203D15AD}"/>
          </ac:spMkLst>
        </pc:spChg>
        <pc:spChg chg="add del mod">
          <ac:chgData name="Ayyash, Aciele" userId="d3b6e59f-bf78-40c2-9728-97caa8495834" providerId="ADAL" clId="{4E652BFF-DEBB-4E9D-8505-EBA4C9EBAE0B}" dt="2021-04-16T09:14:59.529" v="6050"/>
          <ac:spMkLst>
            <pc:docMk/>
            <pc:sldMk cId="3782136319" sldId="782"/>
            <ac:spMk id="78" creationId="{94EA6933-B536-45C3-A56A-C7E5F73B902F}"/>
          </ac:spMkLst>
        </pc:spChg>
        <pc:spChg chg="add mod">
          <ac:chgData name="Ayyash, Aciele" userId="d3b6e59f-bf78-40c2-9728-97caa8495834" providerId="ADAL" clId="{4E652BFF-DEBB-4E9D-8505-EBA4C9EBAE0B}" dt="2021-04-16T09:20:16.659" v="6940"/>
          <ac:spMkLst>
            <pc:docMk/>
            <pc:sldMk cId="3782136319" sldId="782"/>
            <ac:spMk id="90" creationId="{6AEC776F-DAF8-44F5-9095-8A39F26D1F17}"/>
          </ac:spMkLst>
        </pc:spChg>
        <pc:spChg chg="add mod">
          <ac:chgData name="Ayyash, Aciele" userId="d3b6e59f-bf78-40c2-9728-97caa8495834" providerId="ADAL" clId="{4E652BFF-DEBB-4E9D-8505-EBA4C9EBAE0B}" dt="2021-04-16T09:20:16.658" v="6939"/>
          <ac:spMkLst>
            <pc:docMk/>
            <pc:sldMk cId="3782136319" sldId="782"/>
            <ac:spMk id="91" creationId="{3D5C6833-64B4-42C6-AA00-F06549238BCF}"/>
          </ac:spMkLst>
        </pc:spChg>
        <pc:spChg chg="add mod">
          <ac:chgData name="Ayyash, Aciele" userId="d3b6e59f-bf78-40c2-9728-97caa8495834" providerId="ADAL" clId="{4E652BFF-DEBB-4E9D-8505-EBA4C9EBAE0B}" dt="2021-04-16T09:20:16.661" v="6942"/>
          <ac:spMkLst>
            <pc:docMk/>
            <pc:sldMk cId="3782136319" sldId="782"/>
            <ac:spMk id="92" creationId="{85903AD8-316A-427F-A2AB-DF83E0DA33FC}"/>
          </ac:spMkLst>
        </pc:spChg>
        <pc:spChg chg="add mod">
          <ac:chgData name="Ayyash, Aciele" userId="d3b6e59f-bf78-40c2-9728-97caa8495834" providerId="ADAL" clId="{4E652BFF-DEBB-4E9D-8505-EBA4C9EBAE0B}" dt="2021-04-16T09:20:16.662" v="6943"/>
          <ac:spMkLst>
            <pc:docMk/>
            <pc:sldMk cId="3782136319" sldId="782"/>
            <ac:spMk id="93" creationId="{972D311C-A7D2-4C5F-A6C0-75CD327C25D2}"/>
          </ac:spMkLst>
        </pc:spChg>
        <pc:spChg chg="add mod">
          <ac:chgData name="Ayyash, Aciele" userId="d3b6e59f-bf78-40c2-9728-97caa8495834" providerId="ADAL" clId="{4E652BFF-DEBB-4E9D-8505-EBA4C9EBAE0B}" dt="2021-04-16T09:20:16.660" v="6941"/>
          <ac:spMkLst>
            <pc:docMk/>
            <pc:sldMk cId="3782136319" sldId="782"/>
            <ac:spMk id="94" creationId="{499A194C-5714-4579-B8DA-5D10A9FC3967}"/>
          </ac:spMkLst>
        </pc:spChg>
        <pc:spChg chg="mod">
          <ac:chgData name="Ayyash, Aciele" userId="d3b6e59f-bf78-40c2-9728-97caa8495834" providerId="ADAL" clId="{4E652BFF-DEBB-4E9D-8505-EBA4C9EBAE0B}" dt="2021-04-16T09:20:16.648" v="6927"/>
          <ac:spMkLst>
            <pc:docMk/>
            <pc:sldMk cId="3782136319" sldId="782"/>
            <ac:spMk id="96" creationId="{9E0F35DC-8397-4AC7-8B0D-F6C00161566A}"/>
          </ac:spMkLst>
        </pc:spChg>
        <pc:spChg chg="mod">
          <ac:chgData name="Ayyash, Aciele" userId="d3b6e59f-bf78-40c2-9728-97caa8495834" providerId="ADAL" clId="{4E652BFF-DEBB-4E9D-8505-EBA4C9EBAE0B}" dt="2021-04-16T09:20:16.647" v="6926"/>
          <ac:spMkLst>
            <pc:docMk/>
            <pc:sldMk cId="3782136319" sldId="782"/>
            <ac:spMk id="97" creationId="{448F0900-D26E-48EE-A01D-E0862EED85EA}"/>
          </ac:spMkLst>
        </pc:spChg>
        <pc:spChg chg="mod">
          <ac:chgData name="Ayyash, Aciele" userId="d3b6e59f-bf78-40c2-9728-97caa8495834" providerId="ADAL" clId="{4E652BFF-DEBB-4E9D-8505-EBA4C9EBAE0B}" dt="2021-04-16T09:20:16.651" v="6931"/>
          <ac:spMkLst>
            <pc:docMk/>
            <pc:sldMk cId="3782136319" sldId="782"/>
            <ac:spMk id="99" creationId="{E1839401-C2CB-4AAD-8D8B-C38EDCB46C77}"/>
          </ac:spMkLst>
        </pc:spChg>
        <pc:spChg chg="mod ord">
          <ac:chgData name="Ayyash, Aciele" userId="d3b6e59f-bf78-40c2-9728-97caa8495834" providerId="ADAL" clId="{4E652BFF-DEBB-4E9D-8505-EBA4C9EBAE0B}" dt="2021-04-16T09:20:16.665" v="6947"/>
          <ac:spMkLst>
            <pc:docMk/>
            <pc:sldMk cId="3782136319" sldId="782"/>
            <ac:spMk id="105" creationId="{2DFEF5DF-0623-4675-9953-A809045FAD52}"/>
          </ac:spMkLst>
        </pc:spChg>
        <pc:spChg chg="mod ord">
          <ac:chgData name="Ayyash, Aciele" userId="d3b6e59f-bf78-40c2-9728-97caa8495834" providerId="ADAL" clId="{4E652BFF-DEBB-4E9D-8505-EBA4C9EBAE0B}" dt="2021-04-16T09:20:16.667" v="6949"/>
          <ac:spMkLst>
            <pc:docMk/>
            <pc:sldMk cId="3782136319" sldId="782"/>
            <ac:spMk id="106" creationId="{8EE59FF5-C89F-4190-A217-5BE14C5774D2}"/>
          </ac:spMkLst>
        </pc:spChg>
        <pc:spChg chg="mod ord">
          <ac:chgData name="Ayyash, Aciele" userId="d3b6e59f-bf78-40c2-9728-97caa8495834" providerId="ADAL" clId="{4E652BFF-DEBB-4E9D-8505-EBA4C9EBAE0B}" dt="2021-04-16T09:20:16.664" v="6945"/>
          <ac:spMkLst>
            <pc:docMk/>
            <pc:sldMk cId="3782136319" sldId="782"/>
            <ac:spMk id="107" creationId="{907AB513-AED2-427B-8C38-5F937952BBFD}"/>
          </ac:spMkLst>
        </pc:spChg>
        <pc:spChg chg="mod">
          <ac:chgData name="Ayyash, Aciele" userId="d3b6e59f-bf78-40c2-9728-97caa8495834" providerId="ADAL" clId="{4E652BFF-DEBB-4E9D-8505-EBA4C9EBAE0B}" dt="2021-04-16T09:20:16.669" v="6951"/>
          <ac:spMkLst>
            <pc:docMk/>
            <pc:sldMk cId="3782136319" sldId="782"/>
            <ac:spMk id="108" creationId="{F4F5EE21-170B-408D-BEB0-20678D2753B5}"/>
          </ac:spMkLst>
        </pc:spChg>
        <pc:spChg chg="mod">
          <ac:chgData name="Ayyash, Aciele" userId="d3b6e59f-bf78-40c2-9728-97caa8495834" providerId="ADAL" clId="{4E652BFF-DEBB-4E9D-8505-EBA4C9EBAE0B}" dt="2021-04-16T09:20:16.668" v="6950"/>
          <ac:spMkLst>
            <pc:docMk/>
            <pc:sldMk cId="3782136319" sldId="782"/>
            <ac:spMk id="109" creationId="{2CB92F56-918D-4984-85E2-1DAEE7F0D7B0}"/>
          </ac:spMkLst>
        </pc:spChg>
        <pc:spChg chg="mod">
          <ac:chgData name="Ayyash, Aciele" userId="d3b6e59f-bf78-40c2-9728-97caa8495834" providerId="ADAL" clId="{4E652BFF-DEBB-4E9D-8505-EBA4C9EBAE0B}" dt="2021-04-16T09:20:16.670" v="6952"/>
          <ac:spMkLst>
            <pc:docMk/>
            <pc:sldMk cId="3782136319" sldId="782"/>
            <ac:spMk id="110" creationId="{72C2ED0E-41CB-4939-8DFC-9A2FA9CFA043}"/>
          </ac:spMkLst>
        </pc:spChg>
        <pc:spChg chg="mod">
          <ac:chgData name="Ayyash, Aciele" userId="d3b6e59f-bf78-40c2-9728-97caa8495834" providerId="ADAL" clId="{4E652BFF-DEBB-4E9D-8505-EBA4C9EBAE0B}" dt="2021-04-16T09:20:16.646" v="6925"/>
          <ac:spMkLst>
            <pc:docMk/>
            <pc:sldMk cId="3782136319" sldId="782"/>
            <ac:spMk id="200" creationId="{825E092A-9BF9-41BF-87FB-D25237CD6460}"/>
          </ac:spMkLst>
        </pc:spChg>
        <pc:spChg chg="del">
          <ac:chgData name="Ayyash, Aciele" userId="d3b6e59f-bf78-40c2-9728-97caa8495834" providerId="ADAL" clId="{4E652BFF-DEBB-4E9D-8505-EBA4C9EBAE0B}" dt="2021-04-15T11:16:54.654" v="52"/>
          <ac:spMkLst>
            <pc:docMk/>
            <pc:sldMk cId="3782136319" sldId="782"/>
            <ac:spMk id="258" creationId="{14AA355D-D3D2-4D16-AD4A-38A3FA0C8FB0}"/>
          </ac:spMkLst>
        </pc:spChg>
        <pc:spChg chg="mod">
          <ac:chgData name="Ayyash, Aciele" userId="d3b6e59f-bf78-40c2-9728-97caa8495834" providerId="ADAL" clId="{4E652BFF-DEBB-4E9D-8505-EBA4C9EBAE0B}" dt="2021-04-16T09:20:16.649" v="6928"/>
          <ac:spMkLst>
            <pc:docMk/>
            <pc:sldMk cId="3782136319" sldId="782"/>
            <ac:spMk id="265" creationId="{CA519A80-D55C-489C-BF11-F78F37628F38}"/>
          </ac:spMkLst>
        </pc:spChg>
        <pc:spChg chg="mod">
          <ac:chgData name="Ayyash, Aciele" userId="d3b6e59f-bf78-40c2-9728-97caa8495834" providerId="ADAL" clId="{4E652BFF-DEBB-4E9D-8505-EBA4C9EBAE0B}" dt="2021-04-16T09:20:16.654" v="6934"/>
          <ac:spMkLst>
            <pc:docMk/>
            <pc:sldMk cId="3782136319" sldId="782"/>
            <ac:spMk id="266" creationId="{101FCC7B-EA91-4E19-8146-EDC9916BE40B}"/>
          </ac:spMkLst>
        </pc:spChg>
        <pc:spChg chg="mod">
          <ac:chgData name="Ayyash, Aciele" userId="d3b6e59f-bf78-40c2-9728-97caa8495834" providerId="ADAL" clId="{4E652BFF-DEBB-4E9D-8505-EBA4C9EBAE0B}" dt="2021-04-16T09:20:16.656" v="6937"/>
          <ac:spMkLst>
            <pc:docMk/>
            <pc:sldMk cId="3782136319" sldId="782"/>
            <ac:spMk id="267" creationId="{817F822D-535E-4D5C-9E2E-89F2F3C3AD03}"/>
          </ac:spMkLst>
        </pc:spChg>
        <pc:graphicFrameChg chg="mod ord">
          <ac:chgData name="Ayyash, Aciele" userId="d3b6e59f-bf78-40c2-9728-97caa8495834" providerId="ADAL" clId="{4E652BFF-DEBB-4E9D-8505-EBA4C9EBAE0B}" dt="2021-04-16T09:20:16.690" v="6960"/>
          <ac:graphicFrameMkLst>
            <pc:docMk/>
            <pc:sldMk cId="3782136319" sldId="782"/>
            <ac:graphicFrameMk id="6" creationId="{00000000-0000-0000-0000-000000000000}"/>
          </ac:graphicFrameMkLst>
        </pc:graphicFrameChg>
        <pc:graphicFrameChg chg="add del mod">
          <ac:chgData name="Ayyash, Aciele" userId="d3b6e59f-bf78-40c2-9728-97caa8495834" providerId="ADAL" clId="{4E652BFF-DEBB-4E9D-8505-EBA4C9EBAE0B}" dt="2021-04-15T11:21:27.305" v="1536"/>
          <ac:graphicFrameMkLst>
            <pc:docMk/>
            <pc:sldMk cId="3782136319" sldId="782"/>
            <ac:graphicFrameMk id="25" creationId="{004FC517-E3DA-4291-BE83-F454CB02ED9C}"/>
          </ac:graphicFrameMkLst>
        </pc:graphicFrameChg>
        <pc:graphicFrameChg chg="add mod">
          <ac:chgData name="Ayyash, Aciele" userId="d3b6e59f-bf78-40c2-9728-97caa8495834" providerId="ADAL" clId="{4E652BFF-DEBB-4E9D-8505-EBA4C9EBAE0B}" dt="2021-04-15T11:21:20.704" v="1071"/>
          <ac:graphicFrameMkLst>
            <pc:docMk/>
            <pc:sldMk cId="3782136319" sldId="782"/>
            <ac:graphicFrameMk id="35" creationId="{C55E334E-98A5-459E-8877-08F212F752A9}"/>
          </ac:graphicFrameMkLst>
        </pc:graphicFrameChg>
        <pc:graphicFrameChg chg="add del mod">
          <ac:chgData name="Ayyash, Aciele" userId="d3b6e59f-bf78-40c2-9728-97caa8495834" providerId="ADAL" clId="{4E652BFF-DEBB-4E9D-8505-EBA4C9EBAE0B}" dt="2021-04-16T09:00:01.969" v="3823"/>
          <ac:graphicFrameMkLst>
            <pc:docMk/>
            <pc:sldMk cId="3782136319" sldId="782"/>
            <ac:graphicFrameMk id="40" creationId="{A70C51C3-38F2-4697-BCB1-E842752F8D77}"/>
          </ac:graphicFrameMkLst>
        </pc:graphicFrameChg>
        <pc:graphicFrameChg chg="add del mod">
          <ac:chgData name="Ayyash, Aciele" userId="d3b6e59f-bf78-40c2-9728-97caa8495834" providerId="ADAL" clId="{4E652BFF-DEBB-4E9D-8505-EBA4C9EBAE0B}" dt="2021-04-16T09:14:43.255" v="5331"/>
          <ac:graphicFrameMkLst>
            <pc:docMk/>
            <pc:sldMk cId="3782136319" sldId="782"/>
            <ac:graphicFrameMk id="62" creationId="{3AC06E7B-BC0A-4CB6-BEFC-14860018EFBA}"/>
          </ac:graphicFrameMkLst>
        </pc:graphicFrameChg>
        <pc:graphicFrameChg chg="add mod ord modGraphic">
          <ac:chgData name="Ayyash, Aciele" userId="d3b6e59f-bf78-40c2-9728-97caa8495834" providerId="ADAL" clId="{4E652BFF-DEBB-4E9D-8505-EBA4C9EBAE0B}" dt="2021-04-16T12:12:54.601" v="7091" actId="20577"/>
          <ac:graphicFrameMkLst>
            <pc:docMk/>
            <pc:sldMk cId="3782136319" sldId="782"/>
            <ac:graphicFrameMk id="63" creationId="{22D7FC17-CF8C-4610-9568-47414B68E067}"/>
          </ac:graphicFrameMkLst>
        </pc:graphicFrameChg>
        <pc:graphicFrameChg chg="add mod">
          <ac:chgData name="Ayyash, Aciele" userId="d3b6e59f-bf78-40c2-9728-97caa8495834" providerId="ADAL" clId="{4E652BFF-DEBB-4E9D-8505-EBA4C9EBAE0B}" dt="2021-04-16T09:02:49.896" v="4084"/>
          <ac:graphicFrameMkLst>
            <pc:docMk/>
            <pc:sldMk cId="3782136319" sldId="782"/>
            <ac:graphicFrameMk id="68" creationId="{1AE51DFC-5A51-4848-9C12-8D4D1B7046AE}"/>
          </ac:graphicFrameMkLst>
        </pc:graphicFrameChg>
        <pc:graphicFrameChg chg="add mod">
          <ac:chgData name="Ayyash, Aciele" userId="d3b6e59f-bf78-40c2-9728-97caa8495834" providerId="ADAL" clId="{4E652BFF-DEBB-4E9D-8505-EBA4C9EBAE0B}" dt="2021-04-16T09:14:32.342" v="4930"/>
          <ac:graphicFrameMkLst>
            <pc:docMk/>
            <pc:sldMk cId="3782136319" sldId="782"/>
            <ac:graphicFrameMk id="70" creationId="{3F0B24C9-9C29-4FD2-945E-613CA5CEE99D}"/>
          </ac:graphicFrameMkLst>
        </pc:graphicFrameChg>
        <pc:graphicFrameChg chg="add del mod">
          <ac:chgData name="Ayyash, Aciele" userId="d3b6e59f-bf78-40c2-9728-97caa8495834" providerId="ADAL" clId="{4E652BFF-DEBB-4E9D-8505-EBA4C9EBAE0B}" dt="2021-04-16T09:14:49.006" v="5787"/>
          <ac:graphicFrameMkLst>
            <pc:docMk/>
            <pc:sldMk cId="3782136319" sldId="782"/>
            <ac:graphicFrameMk id="72" creationId="{F605FA77-8BC8-4DDB-9CFA-506E4EF86FA5}"/>
          </ac:graphicFrameMkLst>
        </pc:graphicFrameChg>
        <pc:graphicFrameChg chg="del">
          <ac:chgData name="Ayyash, Aciele" userId="d3b6e59f-bf78-40c2-9728-97caa8495834" providerId="ADAL" clId="{4E652BFF-DEBB-4E9D-8505-EBA4C9EBAE0B}" dt="2021-04-15T11:20:56.632" v="472"/>
          <ac:graphicFrameMkLst>
            <pc:docMk/>
            <pc:sldMk cId="3782136319" sldId="782"/>
            <ac:graphicFrameMk id="77" creationId="{B8AD12B3-B089-47B7-9A2E-D670D1EE5DB2}"/>
          </ac:graphicFrameMkLst>
        </pc:graphicFrameChg>
        <pc:graphicFrameChg chg="add del mod">
          <ac:chgData name="Ayyash, Aciele" userId="d3b6e59f-bf78-40c2-9728-97caa8495834" providerId="ADAL" clId="{4E652BFF-DEBB-4E9D-8505-EBA4C9EBAE0B}" dt="2021-04-16T09:14:49.318" v="5912"/>
          <ac:graphicFrameMkLst>
            <pc:docMk/>
            <pc:sldMk cId="3782136319" sldId="782"/>
            <ac:graphicFrameMk id="79" creationId="{7DEA4659-338F-485A-B2EE-062142C691DB}"/>
          </ac:graphicFrameMkLst>
        </pc:graphicFrameChg>
        <pc:graphicFrameChg chg="add del mod">
          <ac:chgData name="Ayyash, Aciele" userId="d3b6e59f-bf78-40c2-9728-97caa8495834" providerId="ADAL" clId="{4E652BFF-DEBB-4E9D-8505-EBA4C9EBAE0B}" dt="2021-04-16T09:14:59.546" v="6064"/>
          <ac:graphicFrameMkLst>
            <pc:docMk/>
            <pc:sldMk cId="3782136319" sldId="782"/>
            <ac:graphicFrameMk id="80" creationId="{CD8267AB-7C66-4EAF-A5C2-EC4220153800}"/>
          </ac:graphicFrameMkLst>
        </pc:graphicFrameChg>
        <pc:graphicFrameChg chg="add del mod">
          <ac:chgData name="Ayyash, Aciele" userId="d3b6e59f-bf78-40c2-9728-97caa8495834" providerId="ADAL" clId="{4E652BFF-DEBB-4E9D-8505-EBA4C9EBAE0B}" dt="2021-04-16T09:15:12.853" v="6166"/>
          <ac:graphicFrameMkLst>
            <pc:docMk/>
            <pc:sldMk cId="3782136319" sldId="782"/>
            <ac:graphicFrameMk id="87" creationId="{922BDE84-A4E2-4482-9118-0E935E290D98}"/>
          </ac:graphicFrameMkLst>
        </pc:graphicFrameChg>
        <pc:graphicFrameChg chg="add del mod">
          <ac:chgData name="Ayyash, Aciele" userId="d3b6e59f-bf78-40c2-9728-97caa8495834" providerId="ADAL" clId="{4E652BFF-DEBB-4E9D-8505-EBA4C9EBAE0B}" dt="2021-04-16T09:15:14.719" v="6266"/>
          <ac:graphicFrameMkLst>
            <pc:docMk/>
            <pc:sldMk cId="3782136319" sldId="782"/>
            <ac:graphicFrameMk id="88" creationId="{5113B312-167A-42B4-B657-0427E33619C7}"/>
          </ac:graphicFrameMkLst>
        </pc:graphicFrameChg>
        <pc:graphicFrameChg chg="add del mod">
          <ac:chgData name="Ayyash, Aciele" userId="d3b6e59f-bf78-40c2-9728-97caa8495834" providerId="ADAL" clId="{4E652BFF-DEBB-4E9D-8505-EBA4C9EBAE0B}" dt="2021-04-16T09:15:23.610" v="6681"/>
          <ac:graphicFrameMkLst>
            <pc:docMk/>
            <pc:sldMk cId="3782136319" sldId="782"/>
            <ac:graphicFrameMk id="89" creationId="{30325682-E854-48FE-8F0D-76E5EE446009}"/>
          </ac:graphicFrameMkLst>
        </pc:graphicFrameChg>
        <pc:graphicFrameChg chg="add del mod">
          <ac:chgData name="Ayyash, Aciele" userId="d3b6e59f-bf78-40c2-9728-97caa8495834" providerId="ADAL" clId="{4E652BFF-DEBB-4E9D-8505-EBA4C9EBAE0B}" dt="2021-04-16T09:16:23.623" v="6812"/>
          <ac:graphicFrameMkLst>
            <pc:docMk/>
            <pc:sldMk cId="3782136319" sldId="782"/>
            <ac:graphicFrameMk id="95" creationId="{8650E34D-7D9B-4A3C-8A6A-C6B41E767AC7}"/>
          </ac:graphicFrameMkLst>
        </pc:graphicFrameChg>
        <pc:graphicFrameChg chg="add del mod">
          <ac:chgData name="Ayyash, Aciele" userId="d3b6e59f-bf78-40c2-9728-97caa8495834" providerId="ADAL" clId="{4E652BFF-DEBB-4E9D-8505-EBA4C9EBAE0B}" dt="2021-04-16T09:20:16.611" v="6912"/>
          <ac:graphicFrameMkLst>
            <pc:docMk/>
            <pc:sldMk cId="3782136319" sldId="782"/>
            <ac:graphicFrameMk id="100" creationId="{D1E19BBE-68D4-4696-918F-4F09AA0CFCB2}"/>
          </ac:graphicFrameMkLst>
        </pc:graphicFrameChg>
        <pc:graphicFrameChg chg="add mod">
          <ac:chgData name="Ayyash, Aciele" userId="d3b6e59f-bf78-40c2-9728-97caa8495834" providerId="ADAL" clId="{4E652BFF-DEBB-4E9D-8505-EBA4C9EBAE0B}" dt="2021-04-16T09:20:16.642" v="6921"/>
          <ac:graphicFrameMkLst>
            <pc:docMk/>
            <pc:sldMk cId="3782136319" sldId="782"/>
            <ac:graphicFrameMk id="101" creationId="{4B541996-84ED-48C7-A14E-17B7988E1158}"/>
          </ac:graphicFrameMkLst>
        </pc:graphicFrameChg>
        <pc:cxnChg chg="add mod">
          <ac:chgData name="Ayyash, Aciele" userId="d3b6e59f-bf78-40c2-9728-97caa8495834" providerId="ADAL" clId="{4E652BFF-DEBB-4E9D-8505-EBA4C9EBAE0B}" dt="2021-04-16T09:20:16.643" v="6922"/>
          <ac:cxnSpMkLst>
            <pc:docMk/>
            <pc:sldMk cId="3782136319" sldId="782"/>
            <ac:cxnSpMk id="7" creationId="{7B106F73-0993-4DE4-A9FF-5E612ADC5B92}"/>
          </ac:cxnSpMkLst>
        </pc:cxnChg>
        <pc:cxnChg chg="add mod">
          <ac:chgData name="Ayyash, Aciele" userId="d3b6e59f-bf78-40c2-9728-97caa8495834" providerId="ADAL" clId="{4E652BFF-DEBB-4E9D-8505-EBA4C9EBAE0B}" dt="2021-04-16T09:20:16.644" v="6923"/>
          <ac:cxnSpMkLst>
            <pc:docMk/>
            <pc:sldMk cId="3782136319" sldId="782"/>
            <ac:cxnSpMk id="8" creationId="{F0B36F17-3249-470C-B9CD-75DA895AF907}"/>
          </ac:cxnSpMkLst>
        </pc:cxnChg>
        <pc:cxnChg chg="add del mod">
          <ac:chgData name="Ayyash, Aciele" userId="d3b6e59f-bf78-40c2-9728-97caa8495834" providerId="ADAL" clId="{4E652BFF-DEBB-4E9D-8505-EBA4C9EBAE0B}" dt="2021-04-16T09:14:48.906" v="5685"/>
          <ac:cxnSpMkLst>
            <pc:docMk/>
            <pc:sldMk cId="3782136319" sldId="782"/>
            <ac:cxnSpMk id="9" creationId="{5278EF88-C383-4C2F-82C2-DFC5FA80B14F}"/>
          </ac:cxnSpMkLst>
        </pc:cxnChg>
        <pc:cxnChg chg="add del mod">
          <ac:chgData name="Ayyash, Aciele" userId="d3b6e59f-bf78-40c2-9728-97caa8495834" providerId="ADAL" clId="{4E652BFF-DEBB-4E9D-8505-EBA4C9EBAE0B}" dt="2021-04-16T09:14:48.905" v="5684"/>
          <ac:cxnSpMkLst>
            <pc:docMk/>
            <pc:sldMk cId="3782136319" sldId="782"/>
            <ac:cxnSpMk id="10" creationId="{27D42827-BCE2-4E84-BF2E-CC8409B64429}"/>
          </ac:cxnSpMkLst>
        </pc:cxnChg>
        <pc:cxnChg chg="add del mod">
          <ac:chgData name="Ayyash, Aciele" userId="d3b6e59f-bf78-40c2-9728-97caa8495834" providerId="ADAL" clId="{4E652BFF-DEBB-4E9D-8505-EBA4C9EBAE0B}" dt="2021-04-16T09:14:48.925" v="5702"/>
          <ac:cxnSpMkLst>
            <pc:docMk/>
            <pc:sldMk cId="3782136319" sldId="782"/>
            <ac:cxnSpMk id="11" creationId="{4F47FBFA-1272-4E4F-BDF8-A40FE9674F9E}"/>
          </ac:cxnSpMkLst>
        </pc:cxnChg>
        <pc:cxnChg chg="add del mod">
          <ac:chgData name="Ayyash, Aciele" userId="d3b6e59f-bf78-40c2-9728-97caa8495834" providerId="ADAL" clId="{4E652BFF-DEBB-4E9D-8505-EBA4C9EBAE0B}" dt="2021-04-16T09:14:48.938" v="5716"/>
          <ac:cxnSpMkLst>
            <pc:docMk/>
            <pc:sldMk cId="3782136319" sldId="782"/>
            <ac:cxnSpMk id="12" creationId="{3A19ED07-C70A-4E9D-B238-1DB635D35E20}"/>
          </ac:cxnSpMkLst>
        </pc:cxnChg>
        <pc:cxnChg chg="add del mod">
          <ac:chgData name="Ayyash, Aciele" userId="d3b6e59f-bf78-40c2-9728-97caa8495834" providerId="ADAL" clId="{4E652BFF-DEBB-4E9D-8505-EBA4C9EBAE0B}" dt="2021-04-16T09:14:48.938" v="5715"/>
          <ac:cxnSpMkLst>
            <pc:docMk/>
            <pc:sldMk cId="3782136319" sldId="782"/>
            <ac:cxnSpMk id="13" creationId="{77DD0D46-8D21-4604-B637-71D665297095}"/>
          </ac:cxnSpMkLst>
        </pc:cxnChg>
        <pc:cxnChg chg="add del mod">
          <ac:chgData name="Ayyash, Aciele" userId="d3b6e59f-bf78-40c2-9728-97caa8495834" providerId="ADAL" clId="{4E652BFF-DEBB-4E9D-8505-EBA4C9EBAE0B}" dt="2021-04-16T09:14:43.218" v="5283"/>
          <ac:cxnSpMkLst>
            <pc:docMk/>
            <pc:sldMk cId="3782136319" sldId="782"/>
            <ac:cxnSpMk id="14" creationId="{4939D484-967D-43C9-8736-83F131BA5E3B}"/>
          </ac:cxnSpMkLst>
        </pc:cxnChg>
        <pc:cxnChg chg="add del mod">
          <ac:chgData name="Ayyash, Aciele" userId="d3b6e59f-bf78-40c2-9728-97caa8495834" providerId="ADAL" clId="{4E652BFF-DEBB-4E9D-8505-EBA4C9EBAE0B}" dt="2021-04-16T09:14:43.231" v="5297"/>
          <ac:cxnSpMkLst>
            <pc:docMk/>
            <pc:sldMk cId="3782136319" sldId="782"/>
            <ac:cxnSpMk id="15" creationId="{1C2A5EF8-3DA2-48A9-B31C-371797F8A5A6}"/>
          </ac:cxnSpMkLst>
        </pc:cxnChg>
        <pc:cxnChg chg="add del mod">
          <ac:chgData name="Ayyash, Aciele" userId="d3b6e59f-bf78-40c2-9728-97caa8495834" providerId="ADAL" clId="{4E652BFF-DEBB-4E9D-8505-EBA4C9EBAE0B}" dt="2021-04-16T09:14:43.231" v="5296"/>
          <ac:cxnSpMkLst>
            <pc:docMk/>
            <pc:sldMk cId="3782136319" sldId="782"/>
            <ac:cxnSpMk id="16" creationId="{C25D974B-429C-4134-8BF8-670DF92EFA35}"/>
          </ac:cxnSpMkLst>
        </pc:cxnChg>
        <pc:cxnChg chg="add del mod">
          <ac:chgData name="Ayyash, Aciele" userId="d3b6e59f-bf78-40c2-9728-97caa8495834" providerId="ADAL" clId="{4E652BFF-DEBB-4E9D-8505-EBA4C9EBAE0B}" dt="2021-04-16T09:14:48.952" v="5732"/>
          <ac:cxnSpMkLst>
            <pc:docMk/>
            <pc:sldMk cId="3782136319" sldId="782"/>
            <ac:cxnSpMk id="17" creationId="{FB2BEFB7-770B-469B-B46B-1285BFF686F0}"/>
          </ac:cxnSpMkLst>
        </pc:cxnChg>
        <pc:cxnChg chg="add del mod">
          <ac:chgData name="Ayyash, Aciele" userId="d3b6e59f-bf78-40c2-9728-97caa8495834" providerId="ADAL" clId="{4E652BFF-DEBB-4E9D-8505-EBA4C9EBAE0B}" dt="2021-04-16T09:14:48.951" v="5731"/>
          <ac:cxnSpMkLst>
            <pc:docMk/>
            <pc:sldMk cId="3782136319" sldId="782"/>
            <ac:cxnSpMk id="18" creationId="{C25685B9-AF16-4519-9706-5A3B3A860630}"/>
          </ac:cxnSpMkLst>
        </pc:cxnChg>
        <pc:cxnChg chg="add del mod">
          <ac:chgData name="Ayyash, Aciele" userId="d3b6e59f-bf78-40c2-9728-97caa8495834" providerId="ADAL" clId="{4E652BFF-DEBB-4E9D-8505-EBA4C9EBAE0B}" dt="2021-04-16T09:14:48.968" v="5749"/>
          <ac:cxnSpMkLst>
            <pc:docMk/>
            <pc:sldMk cId="3782136319" sldId="782"/>
            <ac:cxnSpMk id="19" creationId="{ADE4EE91-696A-4DC2-9533-D37C155C7A3B}"/>
          </ac:cxnSpMkLst>
        </pc:cxnChg>
        <pc:cxnChg chg="add del mod">
          <ac:chgData name="Ayyash, Aciele" userId="d3b6e59f-bf78-40c2-9728-97caa8495834" providerId="ADAL" clId="{4E652BFF-DEBB-4E9D-8505-EBA4C9EBAE0B}" dt="2021-04-16T09:14:48.983" v="5763"/>
          <ac:cxnSpMkLst>
            <pc:docMk/>
            <pc:sldMk cId="3782136319" sldId="782"/>
            <ac:cxnSpMk id="21" creationId="{035D365A-7D72-4AC5-9156-F98542EC3A58}"/>
          </ac:cxnSpMkLst>
        </pc:cxnChg>
        <pc:cxnChg chg="add del mod">
          <ac:chgData name="Ayyash, Aciele" userId="d3b6e59f-bf78-40c2-9728-97caa8495834" providerId="ADAL" clId="{4E652BFF-DEBB-4E9D-8505-EBA4C9EBAE0B}" dt="2021-04-16T09:14:48.982" v="5762"/>
          <ac:cxnSpMkLst>
            <pc:docMk/>
            <pc:sldMk cId="3782136319" sldId="782"/>
            <ac:cxnSpMk id="22" creationId="{C92BB6B3-A6B3-4B45-8328-A30E81C8D4E5}"/>
          </ac:cxnSpMkLst>
        </pc:cxnChg>
        <pc:cxnChg chg="add del mod">
          <ac:chgData name="Ayyash, Aciele" userId="d3b6e59f-bf78-40c2-9728-97caa8495834" providerId="ADAL" clId="{4E652BFF-DEBB-4E9D-8505-EBA4C9EBAE0B}" dt="2021-04-16T09:14:49.002" v="5782"/>
          <ac:cxnSpMkLst>
            <pc:docMk/>
            <pc:sldMk cId="3782136319" sldId="782"/>
            <ac:cxnSpMk id="23" creationId="{9992AE13-A188-49B0-8565-4CA5FEB4229B}"/>
          </ac:cxnSpMkLst>
        </pc:cxnChg>
        <pc:cxnChg chg="del mod">
          <ac:chgData name="Ayyash, Aciele" userId="d3b6e59f-bf78-40c2-9728-97caa8495834" providerId="ADAL" clId="{4E652BFF-DEBB-4E9D-8505-EBA4C9EBAE0B}" dt="2021-04-16T09:16:10.619" v="6750"/>
          <ac:cxnSpMkLst>
            <pc:docMk/>
            <pc:sldMk cId="3782136319" sldId="782"/>
            <ac:cxnSpMk id="85" creationId="{D32E40DA-EAF2-421B-BE14-F2A039C13C2B}"/>
          </ac:cxnSpMkLst>
        </pc:cxnChg>
        <pc:cxnChg chg="add del mod">
          <ac:chgData name="Ayyash, Aciele" userId="d3b6e59f-bf78-40c2-9728-97caa8495834" providerId="ADAL" clId="{4E652BFF-DEBB-4E9D-8505-EBA4C9EBAE0B}" dt="2021-04-16T09:15:23.508" v="6602"/>
          <ac:cxnSpMkLst>
            <pc:docMk/>
            <pc:sldMk cId="3782136319" sldId="782"/>
            <ac:cxnSpMk id="259" creationId="{3FC4C459-A371-43F5-A602-AE2D10752C7B}"/>
          </ac:cxnSpMkLst>
        </pc:cxnChg>
        <pc:cxnChg chg="add del mod">
          <ac:chgData name="Ayyash, Aciele" userId="d3b6e59f-bf78-40c2-9728-97caa8495834" providerId="ADAL" clId="{4E652BFF-DEBB-4E9D-8505-EBA4C9EBAE0B}" dt="2021-04-16T09:15:23.525" v="6616"/>
          <ac:cxnSpMkLst>
            <pc:docMk/>
            <pc:sldMk cId="3782136319" sldId="782"/>
            <ac:cxnSpMk id="260" creationId="{D715717C-E406-4BC8-9901-7E5165F8F67A}"/>
          </ac:cxnSpMkLst>
        </pc:cxnChg>
        <pc:cxnChg chg="add del mod">
          <ac:chgData name="Ayyash, Aciele" userId="d3b6e59f-bf78-40c2-9728-97caa8495834" providerId="ADAL" clId="{4E652BFF-DEBB-4E9D-8505-EBA4C9EBAE0B}" dt="2021-04-16T09:15:23.524" v="6615"/>
          <ac:cxnSpMkLst>
            <pc:docMk/>
            <pc:sldMk cId="3782136319" sldId="782"/>
            <ac:cxnSpMk id="261" creationId="{0D4B7CFD-9222-41DE-8A2E-5EEAB867DD2B}"/>
          </ac:cxnSpMkLst>
        </pc:cxnChg>
        <pc:cxnChg chg="add del mod">
          <ac:chgData name="Ayyash, Aciele" userId="d3b6e59f-bf78-40c2-9728-97caa8495834" providerId="ADAL" clId="{4E652BFF-DEBB-4E9D-8505-EBA4C9EBAE0B}" dt="2021-04-16T09:15:23.558" v="6645"/>
          <ac:cxnSpMkLst>
            <pc:docMk/>
            <pc:sldMk cId="3782136319" sldId="782"/>
            <ac:cxnSpMk id="262" creationId="{D62D95BB-87B5-4117-8B18-47B3A809951A}"/>
          </ac:cxnSpMkLst>
        </pc:cxnChg>
        <pc:cxnChg chg="add del mod">
          <ac:chgData name="Ayyash, Aciele" userId="d3b6e59f-bf78-40c2-9728-97caa8495834" providerId="ADAL" clId="{4E652BFF-DEBB-4E9D-8505-EBA4C9EBAE0B}" dt="2021-04-16T09:15:23.575" v="6659"/>
          <ac:cxnSpMkLst>
            <pc:docMk/>
            <pc:sldMk cId="3782136319" sldId="782"/>
            <ac:cxnSpMk id="263" creationId="{A0640F54-8E36-4A95-BCC2-AF45B8811695}"/>
          </ac:cxnSpMkLst>
        </pc:cxnChg>
        <pc:cxnChg chg="add del mod">
          <ac:chgData name="Ayyash, Aciele" userId="d3b6e59f-bf78-40c2-9728-97caa8495834" providerId="ADAL" clId="{4E652BFF-DEBB-4E9D-8505-EBA4C9EBAE0B}" dt="2021-04-16T09:15:23.574" v="6658"/>
          <ac:cxnSpMkLst>
            <pc:docMk/>
            <pc:sldMk cId="3782136319" sldId="782"/>
            <ac:cxnSpMk id="264" creationId="{85E7C49D-9F55-4246-9E89-01C8E5B4B36A}"/>
          </ac:cxnSpMkLst>
        </pc:cxnChg>
        <pc:cxnChg chg="add del mod">
          <ac:chgData name="Ayyash, Aciele" userId="d3b6e59f-bf78-40c2-9728-97caa8495834" providerId="ADAL" clId="{4E652BFF-DEBB-4E9D-8505-EBA4C9EBAE0B}" dt="2021-04-16T09:15:23.605" v="6676"/>
          <ac:cxnSpMkLst>
            <pc:docMk/>
            <pc:sldMk cId="3782136319" sldId="782"/>
            <ac:cxnSpMk id="268" creationId="{5174DE38-CA4C-4B24-85DA-15589EBA6DC6}"/>
          </ac:cxnSpMkLst>
        </pc:cxnChg>
      </pc:sldChg>
      <pc:sldChg chg="addSp modSp add del">
        <pc:chgData name="Ayyash, Aciele" userId="d3b6e59f-bf78-40c2-9728-97caa8495834" providerId="ADAL" clId="{4E652BFF-DEBB-4E9D-8505-EBA4C9EBAE0B}" dt="2021-04-16T09:19:42.581" v="6861" actId="2696"/>
        <pc:sldMkLst>
          <pc:docMk/>
          <pc:sldMk cId="2804836778" sldId="3136"/>
        </pc:sldMkLst>
        <pc:spChg chg="mod">
          <ac:chgData name="Ayyash, Aciele" userId="d3b6e59f-bf78-40c2-9728-97caa8495834" providerId="ADAL" clId="{4E652BFF-DEBB-4E9D-8505-EBA4C9EBAE0B}" dt="2021-04-15T11:28:54.192" v="1815"/>
          <ac:spMkLst>
            <pc:docMk/>
            <pc:sldMk cId="2804836778" sldId="3136"/>
            <ac:spMk id="2" creationId="{CE160ED5-BA00-41C5-888D-C1A397CD4E89}"/>
          </ac:spMkLst>
        </pc:spChg>
        <pc:spChg chg="mod">
          <ac:chgData name="Ayyash, Aciele" userId="d3b6e59f-bf78-40c2-9728-97caa8495834" providerId="ADAL" clId="{4E652BFF-DEBB-4E9D-8505-EBA4C9EBAE0B}" dt="2021-04-15T11:28:54.192" v="1816"/>
          <ac:spMkLst>
            <pc:docMk/>
            <pc:sldMk cId="2804836778" sldId="3136"/>
            <ac:spMk id="3" creationId="{0D01553B-4BFE-4138-B263-E1EF486C9653}"/>
          </ac:spMkLst>
        </pc:spChg>
        <pc:spChg chg="mod ord">
          <ac:chgData name="Ayyash, Aciele" userId="d3b6e59f-bf78-40c2-9728-97caa8495834" providerId="ADAL" clId="{4E652BFF-DEBB-4E9D-8505-EBA4C9EBAE0B}" dt="2021-04-15T11:28:54.194" v="1818"/>
          <ac:spMkLst>
            <pc:docMk/>
            <pc:sldMk cId="2804836778" sldId="3136"/>
            <ac:spMk id="4" creationId="{990B0258-8136-44BF-B195-2B05208D9930}"/>
          </ac:spMkLst>
        </pc:spChg>
        <pc:spChg chg="add mod ord modVis">
          <ac:chgData name="Ayyash, Aciele" userId="d3b6e59f-bf78-40c2-9728-97caa8495834" providerId="ADAL" clId="{4E652BFF-DEBB-4E9D-8505-EBA4C9EBAE0B}" dt="2021-04-15T11:28:54.191" v="1814"/>
          <ac:spMkLst>
            <pc:docMk/>
            <pc:sldMk cId="2804836778" sldId="3136"/>
            <ac:spMk id="6" creationId="{9656B5EB-4B0E-406B-B59F-59850283F25C}"/>
          </ac:spMkLst>
        </pc:spChg>
        <pc:graphicFrameChg chg="add mod ord modVis">
          <ac:chgData name="Ayyash, Aciele" userId="d3b6e59f-bf78-40c2-9728-97caa8495834" providerId="ADAL" clId="{4E652BFF-DEBB-4E9D-8505-EBA4C9EBAE0B}" dt="2021-04-15T11:28:54.197" v="1820"/>
          <ac:graphicFrameMkLst>
            <pc:docMk/>
            <pc:sldMk cId="2804836778" sldId="3136"/>
            <ac:graphicFrameMk id="5" creationId="{79C78B9F-CB8D-4C48-BA8F-2E47E2412F8A}"/>
          </ac:graphicFrameMkLst>
        </pc:graphicFrameChg>
      </pc:sldChg>
      <pc:sldChg chg="addSp delSp modSp add">
        <pc:chgData name="Ayyash, Aciele" userId="d3b6e59f-bf78-40c2-9728-97caa8495834" providerId="ADAL" clId="{4E652BFF-DEBB-4E9D-8505-EBA4C9EBAE0B}" dt="2021-04-16T12:42:47.847" v="7361" actId="20577"/>
        <pc:sldMkLst>
          <pc:docMk/>
          <pc:sldMk cId="3492765537" sldId="3137"/>
        </pc:sldMkLst>
        <pc:spChg chg="mod">
          <ac:chgData name="Ayyash, Aciele" userId="d3b6e59f-bf78-40c2-9728-97caa8495834" providerId="ADAL" clId="{4E652BFF-DEBB-4E9D-8505-EBA4C9EBAE0B}" dt="2021-04-16T12:42:03.930" v="7357" actId="20577"/>
          <ac:spMkLst>
            <pc:docMk/>
            <pc:sldMk cId="3492765537" sldId="3137"/>
            <ac:spMk id="2" creationId="{734F69A9-6D57-43A5-8AEE-60CAFD994846}"/>
          </ac:spMkLst>
        </pc:spChg>
        <pc:spChg chg="mod">
          <ac:chgData name="Ayyash, Aciele" userId="d3b6e59f-bf78-40c2-9728-97caa8495834" providerId="ADAL" clId="{4E652BFF-DEBB-4E9D-8505-EBA4C9EBAE0B}" dt="2021-04-16T12:20:08.372" v="7229" actId="20577"/>
          <ac:spMkLst>
            <pc:docMk/>
            <pc:sldMk cId="3492765537" sldId="3137"/>
            <ac:spMk id="3" creationId="{1BA53F46-3BAA-484F-BED1-D90B04B83C29}"/>
          </ac:spMkLst>
        </pc:spChg>
        <pc:spChg chg="mod">
          <ac:chgData name="Ayyash, Aciele" userId="d3b6e59f-bf78-40c2-9728-97caa8495834" providerId="ADAL" clId="{4E652BFF-DEBB-4E9D-8505-EBA4C9EBAE0B}" dt="2021-04-16T12:15:38.586" v="7194" actId="20577"/>
          <ac:spMkLst>
            <pc:docMk/>
            <pc:sldMk cId="3492765537" sldId="3137"/>
            <ac:spMk id="4" creationId="{2891D4C0-8F38-49BC-97BD-177EA7F4229A}"/>
          </ac:spMkLst>
        </pc:spChg>
        <pc:spChg chg="add del mod">
          <ac:chgData name="Ayyash, Aciele" userId="d3b6e59f-bf78-40c2-9728-97caa8495834" providerId="ADAL" clId="{4E652BFF-DEBB-4E9D-8505-EBA4C9EBAE0B}" dt="2021-04-16T09:08:27.759" v="4276"/>
          <ac:spMkLst>
            <pc:docMk/>
            <pc:sldMk cId="3492765537" sldId="3137"/>
            <ac:spMk id="6" creationId="{42DB4908-EFB0-4808-A8F5-70E8624578D6}"/>
          </ac:spMkLst>
        </pc:spChg>
        <pc:spChg chg="add mod">
          <ac:chgData name="Ayyash, Aciele" userId="d3b6e59f-bf78-40c2-9728-97caa8495834" providerId="ADAL" clId="{4E652BFF-DEBB-4E9D-8505-EBA4C9EBAE0B}" dt="2021-04-16T12:42:47.847" v="7361" actId="20577"/>
          <ac:spMkLst>
            <pc:docMk/>
            <pc:sldMk cId="3492765537" sldId="3137"/>
            <ac:spMk id="13" creationId="{52318142-C4EE-4361-ACD8-3747FF6D7ED9}"/>
          </ac:spMkLst>
        </pc:spChg>
        <pc:spChg chg="add del mod">
          <ac:chgData name="Ayyash, Aciele" userId="d3b6e59f-bf78-40c2-9728-97caa8495834" providerId="ADAL" clId="{4E652BFF-DEBB-4E9D-8505-EBA4C9EBAE0B}" dt="2021-04-15T16:28:26.810" v="2867"/>
          <ac:spMkLst>
            <pc:docMk/>
            <pc:sldMk cId="3492765537" sldId="3137"/>
            <ac:spMk id="14" creationId="{7389CE84-E85A-4F1F-B0E6-8620ED323500}"/>
          </ac:spMkLst>
        </pc:spChg>
        <pc:spChg chg="add mod">
          <ac:chgData name="Ayyash, Aciele" userId="d3b6e59f-bf78-40c2-9728-97caa8495834" providerId="ADAL" clId="{4E652BFF-DEBB-4E9D-8505-EBA4C9EBAE0B}" dt="2021-04-16T12:19:22.921" v="7224" actId="255"/>
          <ac:spMkLst>
            <pc:docMk/>
            <pc:sldMk cId="3492765537" sldId="3137"/>
            <ac:spMk id="15" creationId="{0C4EB191-F067-4FB1-986B-9E4A32B6DDA8}"/>
          </ac:spMkLst>
        </pc:spChg>
        <pc:graphicFrameChg chg="add mod ord modVis">
          <ac:chgData name="Ayyash, Aciele" userId="d3b6e59f-bf78-40c2-9728-97caa8495834" providerId="ADAL" clId="{4E652BFF-DEBB-4E9D-8505-EBA4C9EBAE0B}" dt="2021-04-16T12:20:08.912" v="7231"/>
          <ac:graphicFrameMkLst>
            <pc:docMk/>
            <pc:sldMk cId="3492765537" sldId="3137"/>
            <ac:graphicFrameMk id="5" creationId="{FE4E03C7-F5B2-4C38-87CE-2617DD885CCA}"/>
          </ac:graphicFrameMkLst>
        </pc:graphicFrameChg>
        <pc:cxnChg chg="add mod">
          <ac:chgData name="Ayyash, Aciele" userId="d3b6e59f-bf78-40c2-9728-97caa8495834" providerId="ADAL" clId="{4E652BFF-DEBB-4E9D-8505-EBA4C9EBAE0B}" dt="2021-04-15T16:21:22.050" v="2695" actId="1076"/>
          <ac:cxnSpMkLst>
            <pc:docMk/>
            <pc:sldMk cId="3492765537" sldId="3137"/>
            <ac:cxnSpMk id="8" creationId="{EF72C5AB-DACF-4C7C-BCFF-A43779FBF1E2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020833333333334"/>
          <c:y val="3.1578947368421054E-2"/>
          <c:w val="0.84270833333333328"/>
          <c:h val="0.9368421052631579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 w="9525" algn="ctr">
              <a:solidFill>
                <a:srgbClr val="969696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-5.5401662049861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51A-4CDA-AEE1-77CF7933D98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35.700000000000003</c:v>
                </c:pt>
                <c:pt idx="1">
                  <c:v>3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51A-4CDA-AEE1-77CF7933D98D}"/>
            </c:ext>
          </c:extLst>
        </c:ser>
        <c:ser>
          <c:idx val="1"/>
          <c:order val="1"/>
          <c:spPr>
            <a:solidFill>
              <a:srgbClr val="000000"/>
            </a:solidFill>
            <a:ln w="9525" algn="ctr">
              <a:solidFill>
                <a:srgbClr val="000000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27.200000000000003</c:v>
                </c:pt>
                <c:pt idx="1">
                  <c:v>7.79999999999999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51A-4CDA-AEE1-77CF7933D98D}"/>
            </c:ext>
          </c:extLst>
        </c:ser>
        <c:ser>
          <c:idx val="2"/>
          <c:order val="2"/>
          <c:spPr>
            <a:solidFill>
              <a:srgbClr val="9DB1CF"/>
            </a:solidFill>
            <a:ln w="9525" algn="ctr">
              <a:solidFill>
                <a:srgbClr val="9DB1CF"/>
              </a:solidFill>
              <a:prstDash val="solid"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4.2999999999999972</c:v>
                </c:pt>
                <c:pt idx="1">
                  <c:v>4.29999999999999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51A-4CDA-AEE1-77CF7933D98D}"/>
            </c:ext>
          </c:extLst>
        </c:ser>
        <c:ser>
          <c:idx val="3"/>
          <c:order val="3"/>
          <c:spPr>
            <a:solidFill>
              <a:schemeClr val="accent3"/>
            </a:solidFill>
            <a:ln w="9525" algn="ctr">
              <a:solidFill>
                <a:schemeClr val="accent3"/>
              </a:solidFill>
              <a:prstDash val="solid"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5.9000000000000057</c:v>
                </c:pt>
                <c:pt idx="1">
                  <c:v>7.20000000000000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51A-4CDA-AEE1-77CF7933D98D}"/>
            </c:ext>
          </c:extLst>
        </c:ser>
        <c:ser>
          <c:idx val="4"/>
          <c:order val="4"/>
          <c:spPr>
            <a:solidFill>
              <a:srgbClr val="C71FAD"/>
            </a:solidFill>
            <a:ln w="9525" algn="ctr">
              <a:solidFill>
                <a:srgbClr val="C71FAD"/>
              </a:solidFill>
              <a:prstDash val="solid"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9.4000000000000057</c:v>
                </c:pt>
                <c:pt idx="1">
                  <c:v>8.8999999999999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51A-4CDA-AEE1-77CF7933D98D}"/>
            </c:ext>
          </c:extLst>
        </c:ser>
        <c:ser>
          <c:idx val="5"/>
          <c:order val="5"/>
          <c:spPr>
            <a:solidFill>
              <a:srgbClr val="187601"/>
            </a:solidFill>
            <a:ln w="9525" algn="ctr">
              <a:solidFill>
                <a:srgbClr val="18760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-5.5401662049861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51A-4CDA-AEE1-77CF7933D98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B$6</c:f>
              <c:numCache>
                <c:formatCode>General</c:formatCode>
                <c:ptCount val="2"/>
                <c:pt idx="0">
                  <c:v>2.5999999999999943</c:v>
                </c:pt>
                <c:pt idx="1">
                  <c:v>10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51A-4CDA-AEE1-77CF7933D98D}"/>
            </c:ext>
          </c:extLst>
        </c:ser>
        <c:ser>
          <c:idx val="6"/>
          <c:order val="6"/>
          <c:spPr>
            <a:solidFill>
              <a:srgbClr val="7DF22F"/>
            </a:solidFill>
            <a:ln w="9525" algn="ctr">
              <a:solidFill>
                <a:srgbClr val="7DF22F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51A-4CDA-AEE1-77CF7933D98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:$B$7</c:f>
              <c:numCache>
                <c:formatCode>General</c:formatCode>
                <c:ptCount val="2"/>
                <c:pt idx="0">
                  <c:v>5.2000000000000028</c:v>
                </c:pt>
                <c:pt idx="1">
                  <c:v>12.7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F51A-4CDA-AEE1-77CF7933D98D}"/>
            </c:ext>
          </c:extLst>
        </c:ser>
        <c:ser>
          <c:idx val="7"/>
          <c:order val="7"/>
          <c:spPr>
            <a:solidFill>
              <a:srgbClr val="BAF991"/>
            </a:solidFill>
            <a:ln w="9525" algn="ctr">
              <a:solidFill>
                <a:srgbClr val="BAF99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F51A-4CDA-AEE1-77CF7933D98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8:$B$8</c:f>
              <c:numCache>
                <c:formatCode>General</c:formatCode>
                <c:ptCount val="2"/>
                <c:pt idx="0">
                  <c:v>1.4000000000000057</c:v>
                </c:pt>
                <c:pt idx="1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51A-4CDA-AEE1-77CF7933D98D}"/>
            </c:ext>
          </c:extLst>
        </c:ser>
        <c:ser>
          <c:idx val="8"/>
          <c:order val="8"/>
          <c:spPr>
            <a:solidFill>
              <a:srgbClr val="010965"/>
            </a:solidFill>
            <a:ln w="9525" algn="ctr">
              <a:solidFill>
                <a:srgbClr val="010965"/>
              </a:solidFill>
              <a:prstDash val="solid"/>
            </a:ln>
          </c:spPr>
          <c:invertIfNegative val="0"/>
          <c:val>
            <c:numRef>
              <c:f>Sheet1!$A$9:$B$9</c:f>
              <c:numCache>
                <c:formatCode>General</c:formatCode>
                <c:ptCount val="2"/>
                <c:pt idx="0">
                  <c:v>5</c:v>
                </c:pt>
                <c:pt idx="1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51A-4CDA-AEE1-77CF7933D98D}"/>
            </c:ext>
          </c:extLst>
        </c:ser>
        <c:ser>
          <c:idx val="9"/>
          <c:order val="9"/>
          <c:spPr>
            <a:solidFill>
              <a:srgbClr val="0AA6F1"/>
            </a:solidFill>
            <a:ln w="9525" algn="ctr">
              <a:solidFill>
                <a:srgbClr val="0AA6F1"/>
              </a:solidFill>
              <a:prstDash val="solid"/>
            </a:ln>
          </c:spPr>
          <c:invertIfNegative val="0"/>
          <c:val>
            <c:numRef>
              <c:f>Sheet1!$A$10:$B$10</c:f>
              <c:numCache>
                <c:formatCode>General</c:formatCode>
                <c:ptCount val="2"/>
                <c:pt idx="0">
                  <c:v>0.5</c:v>
                </c:pt>
                <c:pt idx="1">
                  <c:v>1.59999999999999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F51A-4CDA-AEE1-77CF7933D98D}"/>
            </c:ext>
          </c:extLst>
        </c:ser>
        <c:ser>
          <c:idx val="10"/>
          <c:order val="10"/>
          <c:spPr>
            <a:pattFill prst="ltDnDiag">
              <a:fgClr>
                <a:schemeClr val="tx1"/>
              </a:fgClr>
              <a:bgClr>
                <a:schemeClr val="bg1"/>
              </a:bgClr>
            </a:pattFill>
            <a:ln w="9525" algn="ctr">
              <a:solidFill>
                <a:srgbClr val="DFE5EF"/>
              </a:solidFill>
              <a:prstDash val="solid"/>
            </a:ln>
          </c:spPr>
          <c:invertIfNegative val="0"/>
          <c:val>
            <c:numRef>
              <c:f>Sheet1!$A$11:$B$11</c:f>
              <c:numCache>
                <c:formatCode>General</c:formatCode>
                <c:ptCount val="2"/>
                <c:pt idx="0">
                  <c:v>2.9000000000000057</c:v>
                </c:pt>
                <c:pt idx="1">
                  <c:v>5.90000000000000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F51A-4CDA-AEE1-77CF7933D9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08658528"/>
        <c:axId val="1"/>
      </c:barChart>
      <c:lineChart>
        <c:grouping val="standard"/>
        <c:varyColors val="0"/>
        <c:ser>
          <c:idx val="11"/>
          <c:order val="11"/>
          <c:spPr>
            <a:ln>
              <a:noFill/>
            </a:ln>
          </c:spPr>
          <c:marker>
            <c:symbol val="none"/>
          </c:marker>
          <c:val>
            <c:numRef>
              <c:f>Sheet1!$A$12:$B$12</c:f>
              <c:numCache>
                <c:formatCode>General</c:formatCode>
                <c:ptCount val="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F51A-4CDA-AEE1-77CF7933D98D}"/>
            </c:ext>
          </c:extLst>
        </c:ser>
        <c:ser>
          <c:idx val="12"/>
          <c:order val="12"/>
          <c:spPr>
            <a:ln w="28575" algn="ctr">
              <a:solidFill>
                <a:srgbClr val="CD0101"/>
              </a:solidFill>
              <a:prstDash val="solid"/>
            </a:ln>
          </c:spPr>
          <c:marker>
            <c:symbol val="none"/>
          </c:marker>
          <c:val>
            <c:numRef>
              <c:f>Sheet1!$A$13:$B$13</c:f>
              <c:numCache>
                <c:formatCode>General</c:formatCode>
                <c:ptCount val="2"/>
                <c:pt idx="0">
                  <c:v>61.404499999999999</c:v>
                </c:pt>
                <c:pt idx="1">
                  <c:v>58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F51A-4CDA-AEE1-77CF7933D9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08658528"/>
        <c:axId val="1"/>
      </c:lineChart>
      <c:catAx>
        <c:axId val="9086585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908658528"/>
        <c:crosses val="min"/>
        <c:crossBetween val="between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2502250225022502"/>
          <c:y val="3.1578947368421054E-2"/>
          <c:w val="0.72817281728172822"/>
          <c:h val="0.9368421052631579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 w="9525" algn="ctr">
              <a:solidFill>
                <a:srgbClr val="969696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F13-483E-8979-9A4278BB035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9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13-483E-8979-9A4278BB0355}"/>
            </c:ext>
          </c:extLst>
        </c:ser>
        <c:ser>
          <c:idx val="1"/>
          <c:order val="1"/>
          <c:spPr>
            <a:solidFill>
              <a:srgbClr val="000000"/>
            </a:solidFill>
            <a:ln w="9525" algn="ctr">
              <a:solidFill>
                <a:srgbClr val="000000"/>
              </a:solidFill>
              <a:prstDash val="solid"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4.37999999999999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F13-483E-8979-9A4278BB0355}"/>
            </c:ext>
          </c:extLst>
        </c:ser>
        <c:ser>
          <c:idx val="2"/>
          <c:order val="2"/>
          <c:spPr>
            <a:solidFill>
              <a:srgbClr val="9DB1CF"/>
            </a:solidFill>
            <a:ln w="9525" algn="ctr">
              <a:solidFill>
                <a:srgbClr val="9DB1CF"/>
              </a:solidFill>
              <a:prstDash val="solid"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4.31000000000000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F13-483E-8979-9A4278BB0355}"/>
            </c:ext>
          </c:extLst>
        </c:ser>
        <c:ser>
          <c:idx val="3"/>
          <c:order val="3"/>
          <c:spPr>
            <a:solidFill>
              <a:schemeClr val="accent3"/>
            </a:solidFill>
            <a:ln w="9525" algn="ctr">
              <a:solidFill>
                <a:schemeClr val="accent3"/>
              </a:solidFill>
              <a:prstDash val="solid"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23.18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F13-483E-8979-9A4278BB0355}"/>
            </c:ext>
          </c:extLst>
        </c:ser>
        <c:ser>
          <c:idx val="4"/>
          <c:order val="4"/>
          <c:spPr>
            <a:solidFill>
              <a:srgbClr val="C71FAD"/>
            </a:solidFill>
            <a:ln w="9525" algn="ctr">
              <a:solidFill>
                <a:srgbClr val="C71FAD"/>
              </a:solidFill>
              <a:prstDash val="solid"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  <c:pt idx="0">
                  <c:v>47.37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F13-483E-8979-9A4278BB0355}"/>
            </c:ext>
          </c:extLst>
        </c:ser>
        <c:ser>
          <c:idx val="5"/>
          <c:order val="5"/>
          <c:spPr>
            <a:solidFill>
              <a:srgbClr val="187601"/>
            </a:solidFill>
            <a:ln w="9525" algn="ctr">
              <a:solidFill>
                <a:srgbClr val="18760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5.5401662049861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F13-483E-8979-9A4278BB035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</c:f>
              <c:numCache>
                <c:formatCode>General</c:formatCode>
                <c:ptCount val="1"/>
                <c:pt idx="0">
                  <c:v>39.5499999999999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F13-483E-8979-9A4278BB0355}"/>
            </c:ext>
          </c:extLst>
        </c:ser>
        <c:ser>
          <c:idx val="6"/>
          <c:order val="6"/>
          <c:spPr>
            <a:solidFill>
              <a:srgbClr val="7DF22F"/>
            </a:solidFill>
            <a:ln w="9525" algn="ctr">
              <a:solidFill>
                <a:srgbClr val="7DF22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AF13-483E-8979-9A4278BB035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</c:f>
              <c:numCache>
                <c:formatCode>General</c:formatCode>
                <c:ptCount val="1"/>
                <c:pt idx="0">
                  <c:v>29.06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F13-483E-8979-9A4278BB0355}"/>
            </c:ext>
          </c:extLst>
        </c:ser>
        <c:ser>
          <c:idx val="7"/>
          <c:order val="7"/>
          <c:spPr>
            <a:solidFill>
              <a:srgbClr val="BAF991"/>
            </a:solidFill>
            <a:ln w="9525" algn="ctr">
              <a:solidFill>
                <a:srgbClr val="BAF991"/>
              </a:solidFill>
              <a:prstDash val="solid"/>
            </a:ln>
          </c:spPr>
          <c:invertIfNegative val="0"/>
          <c:val>
            <c:numRef>
              <c:f>Sheet1!$A$8</c:f>
              <c:numCache>
                <c:formatCode>General</c:formatCode>
                <c:ptCount val="1"/>
                <c:pt idx="0">
                  <c:v>12.050000000000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F13-483E-8979-9A4278BB0355}"/>
            </c:ext>
          </c:extLst>
        </c:ser>
        <c:ser>
          <c:idx val="8"/>
          <c:order val="8"/>
          <c:spPr>
            <a:solidFill>
              <a:srgbClr val="010965"/>
            </a:solidFill>
            <a:ln w="9525" algn="ctr">
              <a:solidFill>
                <a:srgbClr val="010965"/>
              </a:solidFill>
              <a:prstDash val="solid"/>
            </a:ln>
          </c:spPr>
          <c:invertIfNegative val="0"/>
          <c:val>
            <c:numRef>
              <c:f>Sheet1!$A$9</c:f>
              <c:numCache>
                <c:formatCode>General</c:formatCode>
                <c:ptCount val="1"/>
                <c:pt idx="0">
                  <c:v>5.11000000000001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F13-483E-8979-9A4278BB0355}"/>
            </c:ext>
          </c:extLst>
        </c:ser>
        <c:ser>
          <c:idx val="9"/>
          <c:order val="9"/>
          <c:spPr>
            <a:solidFill>
              <a:srgbClr val="0AA6F1"/>
            </a:solidFill>
            <a:ln w="9525" algn="ctr">
              <a:solidFill>
                <a:srgbClr val="0AA6F1"/>
              </a:solidFill>
              <a:prstDash val="solid"/>
            </a:ln>
          </c:spPr>
          <c:invertIfNegative val="0"/>
          <c:val>
            <c:numRef>
              <c:f>Sheet1!$A$10</c:f>
              <c:numCache>
                <c:formatCode>General</c:formatCode>
                <c:ptCount val="1"/>
                <c:pt idx="0">
                  <c:v>6.17000000000001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F13-483E-8979-9A4278BB0355}"/>
            </c:ext>
          </c:extLst>
        </c:ser>
        <c:ser>
          <c:idx val="10"/>
          <c:order val="10"/>
          <c:spPr>
            <a:pattFill prst="ltDnDiag">
              <a:fgClr>
                <a:schemeClr val="tx1"/>
              </a:fgClr>
              <a:bgClr>
                <a:schemeClr val="bg1"/>
              </a:bgClr>
            </a:pattFill>
            <a:ln w="9525" algn="ctr">
              <a:solidFill>
                <a:srgbClr val="DFE5EF"/>
              </a:solidFill>
              <a:prstDash val="solid"/>
            </a:ln>
          </c:spPr>
          <c:invertIfNegative val="0"/>
          <c:val>
            <c:numRef>
              <c:f>Sheet1!$A$11</c:f>
              <c:numCache>
                <c:formatCode>General</c:formatCode>
                <c:ptCount val="1"/>
                <c:pt idx="0">
                  <c:v>22.8399999999999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AF13-483E-8979-9A4278BB03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07059256"/>
        <c:axId val="1"/>
      </c:barChart>
      <c:lineChart>
        <c:grouping val="standard"/>
        <c:varyColors val="0"/>
        <c:ser>
          <c:idx val="11"/>
          <c:order val="11"/>
          <c:spPr>
            <a:ln>
              <a:noFill/>
            </a:ln>
          </c:spPr>
          <c:marker>
            <c:symbol val="none"/>
          </c:marker>
          <c:val>
            <c:numRef>
              <c:f>Sheet1!$A$12</c:f>
              <c:numCache>
                <c:formatCode>General</c:formatCode>
                <c:ptCount val="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AF13-483E-8979-9A4278BB0355}"/>
            </c:ext>
          </c:extLst>
        </c:ser>
        <c:ser>
          <c:idx val="12"/>
          <c:order val="12"/>
          <c:spPr>
            <a:ln w="28575" algn="ctr">
              <a:solidFill>
                <a:srgbClr val="CD0101"/>
              </a:solidFill>
              <a:prstDash val="solid"/>
            </a:ln>
          </c:spPr>
          <c:marker>
            <c:symbol val="none"/>
          </c:marker>
          <c:val>
            <c:numRef>
              <c:f>Sheet1!$A$13</c:f>
              <c:numCache>
                <c:formatCode>General</c:formatCode>
                <c:ptCount val="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AF13-483E-8979-9A4278BB03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07059256"/>
        <c:axId val="1"/>
      </c:lineChart>
      <c:catAx>
        <c:axId val="9070592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907059256"/>
        <c:crosses val="min"/>
        <c:crossBetween val="between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5903614457831327E-2"/>
          <c:y val="3.6391594054331108E-2"/>
          <c:w val="0.89156626506024095"/>
          <c:h val="0.926704254228600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0000"/>
            </a:solidFill>
            <a:ln>
              <a:noFill/>
            </a:ln>
          </c:spPr>
          <c:invertIfNegative val="0"/>
          <c:val>
            <c:numRef>
              <c:f>Sheet1!$A$1:$I$1</c:f>
              <c:numCache>
                <c:formatCode>General</c:formatCode>
                <c:ptCount val="9"/>
                <c:pt idx="0">
                  <c:v>3.3099999999999996</c:v>
                </c:pt>
                <c:pt idx="1">
                  <c:v>0.47000000000000003</c:v>
                </c:pt>
                <c:pt idx="2">
                  <c:v>0.57000000000000006</c:v>
                </c:pt>
                <c:pt idx="3">
                  <c:v>2.79</c:v>
                </c:pt>
                <c:pt idx="5">
                  <c:v>3.62</c:v>
                </c:pt>
                <c:pt idx="6">
                  <c:v>0.16999999999999998</c:v>
                </c:pt>
                <c:pt idx="7">
                  <c:v>0.4</c:v>
                </c:pt>
                <c:pt idx="8">
                  <c:v>1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EB-46E6-8FAD-E904DE0F330E}"/>
            </c:ext>
          </c:extLst>
        </c:ser>
        <c:ser>
          <c:idx val="1"/>
          <c:order val="1"/>
          <c:spPr>
            <a:pattFill prst="ltUpDiag">
              <a:fgClr>
                <a:schemeClr val="tx1"/>
              </a:fgClr>
              <a:bgClr>
                <a:schemeClr val="bg1"/>
              </a:bgClr>
            </a:pattFill>
            <a:ln>
              <a:noFill/>
            </a:ln>
          </c:spPr>
          <c:invertIfNegative val="0"/>
          <c:val>
            <c:numRef>
              <c:f>Sheet1!$A$2:$I$2</c:f>
              <c:numCache>
                <c:formatCode>General</c:formatCode>
                <c:ptCount val="9"/>
                <c:pt idx="0">
                  <c:v>39.598732920168203</c:v>
                </c:pt>
                <c:pt idx="1">
                  <c:v>40.219493289428037</c:v>
                </c:pt>
                <c:pt idx="2">
                  <c:v>36.408520220486999</c:v>
                </c:pt>
                <c:pt idx="3">
                  <c:v>37.032456202608309</c:v>
                </c:pt>
                <c:pt idx="5">
                  <c:v>29.99</c:v>
                </c:pt>
                <c:pt idx="6">
                  <c:v>31.46</c:v>
                </c:pt>
                <c:pt idx="7">
                  <c:v>40.489999999999995</c:v>
                </c:pt>
                <c:pt idx="8">
                  <c:v>35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0EB-46E6-8FAD-E904DE0F330E}"/>
            </c:ext>
          </c:extLst>
        </c:ser>
        <c:ser>
          <c:idx val="2"/>
          <c:order val="2"/>
          <c:spPr>
            <a:solidFill>
              <a:srgbClr val="787878"/>
            </a:solidFill>
            <a:ln>
              <a:noFill/>
            </a:ln>
          </c:spPr>
          <c:invertIfNegative val="0"/>
          <c:val>
            <c:numRef>
              <c:f>Sheet1!$A$3:$I$3</c:f>
              <c:numCache>
                <c:formatCode>General</c:formatCode>
                <c:ptCount val="9"/>
                <c:pt idx="0">
                  <c:v>0.15999999999999903</c:v>
                </c:pt>
                <c:pt idx="1">
                  <c:v>0.15999999999999903</c:v>
                </c:pt>
                <c:pt idx="2">
                  <c:v>0.31999999999999806</c:v>
                </c:pt>
                <c:pt idx="3">
                  <c:v>0.35999999999999921</c:v>
                </c:pt>
                <c:pt idx="5">
                  <c:v>0.40000000000000036</c:v>
                </c:pt>
                <c:pt idx="6">
                  <c:v>0.54000000000000159</c:v>
                </c:pt>
                <c:pt idx="7">
                  <c:v>0.61999999999999833</c:v>
                </c:pt>
                <c:pt idx="8">
                  <c:v>0.500000000000000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0EB-46E6-8FAD-E904DE0F330E}"/>
            </c:ext>
          </c:extLst>
        </c:ser>
        <c:ser>
          <c:idx val="3"/>
          <c:order val="3"/>
          <c:spPr>
            <a:solidFill>
              <a:srgbClr val="00777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0EB-46E6-8FAD-E904DE0F330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0EB-46E6-8FAD-E904DE0F330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0EB-46E6-8FAD-E904DE0F330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0EB-46E6-8FAD-E904DE0F330E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0EB-46E6-8FAD-E904DE0F330E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0EB-46E6-8FAD-E904DE0F330E}"/>
                </c:ext>
              </c:extLst>
            </c:dLbl>
            <c:dLbl>
              <c:idx val="7"/>
              <c:layout>
                <c:manualLayout>
                  <c:x val="0"/>
                  <c:y val="-5.1255766273705791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0EB-46E6-8FAD-E904DE0F330E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0EB-46E6-8FAD-E904DE0F330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I$4</c:f>
              <c:numCache>
                <c:formatCode>General</c:formatCode>
                <c:ptCount val="9"/>
                <c:pt idx="0">
                  <c:v>15.47</c:v>
                </c:pt>
                <c:pt idx="1">
                  <c:v>16.2</c:v>
                </c:pt>
                <c:pt idx="2">
                  <c:v>17.759999999999998</c:v>
                </c:pt>
                <c:pt idx="3">
                  <c:v>17.86</c:v>
                </c:pt>
                <c:pt idx="5">
                  <c:v>15.079999999999998</c:v>
                </c:pt>
                <c:pt idx="6">
                  <c:v>17.879999999999995</c:v>
                </c:pt>
                <c:pt idx="7">
                  <c:v>15.840000000000003</c:v>
                </c:pt>
                <c:pt idx="8">
                  <c:v>17.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0EB-46E6-8FAD-E904DE0F330E}"/>
            </c:ext>
          </c:extLst>
        </c:ser>
        <c:ser>
          <c:idx val="4"/>
          <c:order val="4"/>
          <c:spPr>
            <a:solidFill>
              <a:srgbClr val="5FD90D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20EB-46E6-8FAD-E904DE0F330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20EB-46E6-8FAD-E904DE0F330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20EB-46E6-8FAD-E904DE0F330E}"/>
                </c:ext>
              </c:extLst>
            </c:dLbl>
            <c:dLbl>
              <c:idx val="3"/>
              <c:layout>
                <c:manualLayout>
                  <c:x val="0"/>
                  <c:y val="-5.1255766273705791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20EB-46E6-8FAD-E904DE0F330E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20EB-46E6-8FAD-E904DE0F330E}"/>
                </c:ext>
              </c:extLst>
            </c:dLbl>
            <c:dLbl>
              <c:idx val="6"/>
              <c:layout>
                <c:manualLayout>
                  <c:x val="0"/>
                  <c:y val="-5.1255766273705791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20EB-46E6-8FAD-E904DE0F330E}"/>
                </c:ext>
              </c:extLst>
            </c:dLbl>
            <c:dLbl>
              <c:idx val="7"/>
              <c:layout>
                <c:manualLayout>
                  <c:x val="0"/>
                  <c:y val="-5.1255766273705791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20EB-46E6-8FAD-E904DE0F330E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20EB-46E6-8FAD-E904DE0F330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I$5</c:f>
              <c:numCache>
                <c:formatCode>General</c:formatCode>
                <c:ptCount val="9"/>
                <c:pt idx="0">
                  <c:v>19.574603171409944</c:v>
                </c:pt>
                <c:pt idx="1">
                  <c:v>14.989539151411934</c:v>
                </c:pt>
                <c:pt idx="2">
                  <c:v>18.095071751991998</c:v>
                </c:pt>
                <c:pt idx="3">
                  <c:v>21.601473999348752</c:v>
                </c:pt>
                <c:pt idx="5">
                  <c:v>28.500000000000004</c:v>
                </c:pt>
                <c:pt idx="6">
                  <c:v>19.97</c:v>
                </c:pt>
                <c:pt idx="7">
                  <c:v>21.08</c:v>
                </c:pt>
                <c:pt idx="8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20EB-46E6-8FAD-E904DE0F330E}"/>
            </c:ext>
          </c:extLst>
        </c:ser>
        <c:ser>
          <c:idx val="5"/>
          <c:order val="5"/>
          <c:spPr>
            <a:solidFill>
              <a:srgbClr val="7DF22F"/>
            </a:solidFill>
            <a:ln>
              <a:noFill/>
            </a:ln>
          </c:spPr>
          <c:invertIfNegative val="0"/>
          <c:val>
            <c:numRef>
              <c:f>Sheet1!$A$6:$I$6</c:f>
              <c:numCache>
                <c:formatCode>General</c:formatCode>
                <c:ptCount val="9"/>
                <c:pt idx="0">
                  <c:v>2.3900000000000032</c:v>
                </c:pt>
                <c:pt idx="1">
                  <c:v>5.7899999999999956</c:v>
                </c:pt>
                <c:pt idx="2">
                  <c:v>5.74</c:v>
                </c:pt>
                <c:pt idx="3">
                  <c:v>1.5199999999999991</c:v>
                </c:pt>
                <c:pt idx="5">
                  <c:v>2.4000000000000021</c:v>
                </c:pt>
                <c:pt idx="6">
                  <c:v>8.0799999999999983</c:v>
                </c:pt>
                <c:pt idx="7">
                  <c:v>5.8599999999999985</c:v>
                </c:pt>
                <c:pt idx="8">
                  <c:v>1.47000000000000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20EB-46E6-8FAD-E904DE0F330E}"/>
            </c:ext>
          </c:extLst>
        </c:ser>
        <c:ser>
          <c:idx val="6"/>
          <c:order val="6"/>
          <c:spPr>
            <a:solidFill>
              <a:srgbClr val="87F53D"/>
            </a:solidFill>
            <a:ln>
              <a:noFill/>
            </a:ln>
          </c:spPr>
          <c:invertIfNegative val="0"/>
          <c:val>
            <c:numRef>
              <c:f>Sheet1!$A$7:$I$7</c:f>
              <c:numCache>
                <c:formatCode>General</c:formatCode>
                <c:ptCount val="9"/>
                <c:pt idx="0">
                  <c:v>1.319999999999999</c:v>
                </c:pt>
                <c:pt idx="1">
                  <c:v>0.70000000000000062</c:v>
                </c:pt>
                <c:pt idx="2">
                  <c:v>1.2199999999999989</c:v>
                </c:pt>
                <c:pt idx="3">
                  <c:v>1.3000000000000012</c:v>
                </c:pt>
                <c:pt idx="5">
                  <c:v>1.8800000000000039</c:v>
                </c:pt>
                <c:pt idx="6">
                  <c:v>1.1099999999999999</c:v>
                </c:pt>
                <c:pt idx="7">
                  <c:v>1.100000000000001</c:v>
                </c:pt>
                <c:pt idx="8">
                  <c:v>1.71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20EB-46E6-8FAD-E904DE0F330E}"/>
            </c:ext>
          </c:extLst>
        </c:ser>
        <c:ser>
          <c:idx val="7"/>
          <c:order val="7"/>
          <c:spPr>
            <a:solidFill>
              <a:srgbClr val="94F552"/>
            </a:solidFill>
            <a:ln>
              <a:noFill/>
            </a:ln>
          </c:spPr>
          <c:invertIfNegative val="0"/>
          <c:val>
            <c:numRef>
              <c:f>Sheet1!$A$8:$I$8</c:f>
              <c:numCache>
                <c:formatCode>General</c:formatCode>
                <c:ptCount val="9"/>
                <c:pt idx="0">
                  <c:v>0.62999999999999723</c:v>
                </c:pt>
                <c:pt idx="1">
                  <c:v>0.42999999999999705</c:v>
                </c:pt>
                <c:pt idx="2">
                  <c:v>0.50000000000000044</c:v>
                </c:pt>
                <c:pt idx="3">
                  <c:v>0.56000000000000494</c:v>
                </c:pt>
                <c:pt idx="5">
                  <c:v>0.50000000000000044</c:v>
                </c:pt>
                <c:pt idx="6">
                  <c:v>0.41999999999999815</c:v>
                </c:pt>
                <c:pt idx="7">
                  <c:v>0.46000000000000485</c:v>
                </c:pt>
                <c:pt idx="8">
                  <c:v>0.649999999999995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20EB-46E6-8FAD-E904DE0F330E}"/>
            </c:ext>
          </c:extLst>
        </c:ser>
        <c:ser>
          <c:idx val="8"/>
          <c:order val="8"/>
          <c:spPr>
            <a:solidFill>
              <a:srgbClr val="BBFA92"/>
            </a:solidFill>
            <a:ln>
              <a:noFill/>
            </a:ln>
          </c:spPr>
          <c:invertIfNegative val="0"/>
          <c:val>
            <c:numRef>
              <c:f>Sheet1!$A$9:$I$9</c:f>
              <c:numCache>
                <c:formatCode>General</c:formatCode>
                <c:ptCount val="9"/>
                <c:pt idx="0">
                  <c:v>2.1006452463059433</c:v>
                </c:pt>
                <c:pt idx="1">
                  <c:v>3.4542673004472668</c:v>
                </c:pt>
                <c:pt idx="2">
                  <c:v>2.8895125452918058</c:v>
                </c:pt>
                <c:pt idx="3">
                  <c:v>1.6058047731858371</c:v>
                </c:pt>
                <c:pt idx="5">
                  <c:v>1.6900000000000026</c:v>
                </c:pt>
                <c:pt idx="6">
                  <c:v>1.8299999999999983</c:v>
                </c:pt>
                <c:pt idx="7">
                  <c:v>0.9199999999999986</c:v>
                </c:pt>
                <c:pt idx="8">
                  <c:v>1.95999999999999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20EB-46E6-8FAD-E904DE0F330E}"/>
            </c:ext>
          </c:extLst>
        </c:ser>
        <c:ser>
          <c:idx val="9"/>
          <c:order val="9"/>
          <c:spPr>
            <a:solidFill>
              <a:srgbClr val="C0C0C0"/>
            </a:solidFill>
            <a:ln>
              <a:noFill/>
            </a:ln>
          </c:spPr>
          <c:invertIfNegative val="0"/>
          <c:val>
            <c:numRef>
              <c:f>Sheet1!$A$10:$I$10</c:f>
              <c:numCache>
                <c:formatCode>General</c:formatCode>
                <c:ptCount val="9"/>
                <c:pt idx="0">
                  <c:v>5.2735317562789046</c:v>
                </c:pt>
                <c:pt idx="1">
                  <c:v>6.4684370780276446</c:v>
                </c:pt>
                <c:pt idx="2">
                  <c:v>6.3592193208589443</c:v>
                </c:pt>
                <c:pt idx="3">
                  <c:v>6.5325516769105807</c:v>
                </c:pt>
                <c:pt idx="5">
                  <c:v>6.2899999999999956</c:v>
                </c:pt>
                <c:pt idx="6">
                  <c:v>7.8999999999999959</c:v>
                </c:pt>
                <c:pt idx="7">
                  <c:v>6.1599999999999984</c:v>
                </c:pt>
                <c:pt idx="8">
                  <c:v>6.46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20EB-46E6-8FAD-E904DE0F330E}"/>
            </c:ext>
          </c:extLst>
        </c:ser>
        <c:ser>
          <c:idx val="10"/>
          <c:order val="10"/>
          <c:spPr>
            <a:pattFill prst="pct10">
              <a:fgClr>
                <a:schemeClr val="tx1"/>
              </a:fgClr>
              <a:bgClr>
                <a:schemeClr val="bg1"/>
              </a:bgClr>
            </a:pattFill>
            <a:ln>
              <a:noFill/>
            </a:ln>
          </c:spPr>
          <c:invertIfNegative val="0"/>
          <c:val>
            <c:numRef>
              <c:f>Sheet1!$A$11:$I$11</c:f>
              <c:numCache>
                <c:formatCode>General</c:formatCode>
                <c:ptCount val="9"/>
                <c:pt idx="0">
                  <c:v>1.7599999999999949</c:v>
                </c:pt>
                <c:pt idx="1">
                  <c:v>2.9000000000000026</c:v>
                </c:pt>
                <c:pt idx="2">
                  <c:v>2.4320000000000008</c:v>
                </c:pt>
                <c:pt idx="3">
                  <c:v>1.3499999999999956</c:v>
                </c:pt>
                <c:pt idx="5">
                  <c:v>1.4100000000000001</c:v>
                </c:pt>
                <c:pt idx="6">
                  <c:v>1.529999999999998</c:v>
                </c:pt>
                <c:pt idx="7">
                  <c:v>0.77000000000000401</c:v>
                </c:pt>
                <c:pt idx="8">
                  <c:v>1.64999999999999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20EB-46E6-8FAD-E904DE0F330E}"/>
            </c:ext>
          </c:extLst>
        </c:ser>
        <c:ser>
          <c:idx val="11"/>
          <c:order val="1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20EB-46E6-8FAD-E904DE0F330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20EB-46E6-8FAD-E904DE0F330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20EB-46E6-8FAD-E904DE0F330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20EB-46E6-8FAD-E904DE0F330E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20EB-46E6-8FAD-E904DE0F330E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20EB-46E6-8FAD-E904DE0F330E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20EB-46E6-8FAD-E904DE0F330E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20EB-46E6-8FAD-E904DE0F330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2:$I$12</c:f>
              <c:numCache>
                <c:formatCode>General</c:formatCode>
                <c:ptCount val="9"/>
                <c:pt idx="0">
                  <c:v>8.4099999999999948</c:v>
                </c:pt>
                <c:pt idx="1">
                  <c:v>8.220000000000006</c:v>
                </c:pt>
                <c:pt idx="2">
                  <c:v>7.7099999999999946</c:v>
                </c:pt>
                <c:pt idx="3">
                  <c:v>7.4900000000000073</c:v>
                </c:pt>
                <c:pt idx="5">
                  <c:v>8.2399999999999913</c:v>
                </c:pt>
                <c:pt idx="6">
                  <c:v>9.1099999999999959</c:v>
                </c:pt>
                <c:pt idx="7">
                  <c:v>6.2999999999999945</c:v>
                </c:pt>
                <c:pt idx="8">
                  <c:v>7.93000000000000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3-20EB-46E6-8FAD-E904DE0F33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03306144"/>
        <c:axId val="1"/>
      </c:barChart>
      <c:catAx>
        <c:axId val="9033061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3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903306144"/>
        <c:crosses val="min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994475138121548"/>
          <c:y val="7.0967741935483872E-2"/>
          <c:w val="0.87569060773480667"/>
          <c:h val="0.8933002481389578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5FAB18"/>
            </a:solidFill>
            <a:ln>
              <a:noFill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91.8</c:v>
                </c:pt>
                <c:pt idx="1">
                  <c:v>64.5</c:v>
                </c:pt>
                <c:pt idx="2">
                  <c:v>16.900000000000002</c:v>
                </c:pt>
                <c:pt idx="4">
                  <c:v>91.9</c:v>
                </c:pt>
                <c:pt idx="5">
                  <c:v>62.1</c:v>
                </c:pt>
                <c:pt idx="6">
                  <c:v>2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9C-4A92-9503-66DCD4DE634B}"/>
            </c:ext>
          </c:extLst>
        </c:ser>
        <c:ser>
          <c:idx val="1"/>
          <c:order val="1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3.4254143646408837E-2"/>
                  <c:y val="-0.10570719602977667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A9C-4A92-9503-66DCD4DE634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A9C-4A92-9503-66DCD4DE634B}"/>
                </c:ext>
              </c:extLst>
            </c:dLbl>
            <c:dLbl>
              <c:idx val="4"/>
              <c:layout>
                <c:manualLayout>
                  <c:x val="3.4254143646408837E-2"/>
                  <c:y val="-0.10471464019851116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A9C-4A92-9503-66DCD4DE634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0.9000000000000008</c:v>
                </c:pt>
                <c:pt idx="1">
                  <c:v>4.6000000000000041</c:v>
                </c:pt>
                <c:pt idx="2">
                  <c:v>6.3</c:v>
                </c:pt>
                <c:pt idx="4">
                  <c:v>0.9000000000000008</c:v>
                </c:pt>
                <c:pt idx="5">
                  <c:v>4.9000000000000039</c:v>
                </c:pt>
                <c:pt idx="6">
                  <c:v>0.400000000000000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A9C-4A92-9503-66DCD4DE634B}"/>
            </c:ext>
          </c:extLst>
        </c:ser>
        <c:ser>
          <c:idx val="2"/>
          <c:order val="2"/>
          <c:spPr>
            <a:solidFill>
              <a:srgbClr val="00000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A9C-4A92-9503-66DCD4DE634B}"/>
                </c:ext>
              </c:extLst>
            </c:dLbl>
            <c:dLbl>
              <c:idx val="4"/>
              <c:layout>
                <c:manualLayout>
                  <c:x val="0"/>
                  <c:y val="-4.9627791563275434E-4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A9C-4A92-9503-66DCD4DE634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G$3</c:f>
              <c:numCache>
                <c:formatCode>General</c:formatCode>
                <c:ptCount val="7"/>
                <c:pt idx="0">
                  <c:v>7.2999999999999954</c:v>
                </c:pt>
                <c:pt idx="1">
                  <c:v>30.899999999999995</c:v>
                </c:pt>
                <c:pt idx="2">
                  <c:v>76.8</c:v>
                </c:pt>
                <c:pt idx="4">
                  <c:v>7.1999999999999957</c:v>
                </c:pt>
                <c:pt idx="5">
                  <c:v>32.999999999999993</c:v>
                </c:pt>
                <c:pt idx="6">
                  <c:v>7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A9C-4A92-9503-66DCD4DE63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29110319"/>
        <c:axId val="1"/>
      </c:barChart>
      <c:catAx>
        <c:axId val="11291103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1000000000000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129110319"/>
        <c:crosses val="min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5955" cy="4957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76" tIns="46488" rIns="92976" bIns="46488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723" y="1"/>
            <a:ext cx="2945954" cy="4957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76" tIns="46488" rIns="92976" bIns="46488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D8211FFE-B3EB-1B4F-A849-3CF65CAE83E6}" type="datetime1">
              <a:rPr lang="en-GB" smtClean="0"/>
              <a:pPr>
                <a:defRPr/>
              </a:pPr>
              <a:t>15/04/2021</a:t>
            </a:fld>
            <a:endParaRPr lang="en-US"/>
          </a:p>
        </p:txBody>
      </p:sp>
      <p:sp>
        <p:nvSpPr>
          <p:cNvPr id="922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2472"/>
            <a:ext cx="2945955" cy="4957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76" tIns="46488" rIns="92976" bIns="46488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723" y="9432472"/>
            <a:ext cx="2945954" cy="4957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76" tIns="46488" rIns="92976" bIns="46488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350ECF5C-888C-41F6-A366-B80CE9FF0D5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11783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5955" cy="495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976" tIns="46488" rIns="92976" bIns="46488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246" y="1"/>
            <a:ext cx="2945955" cy="495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976" tIns="46488" rIns="92976" bIns="46488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31C4EFE-BC34-5643-BA96-233A28E9007A}" type="datetime1">
              <a:rPr lang="en-GB" smtClean="0"/>
              <a:pPr/>
              <a:t>15/04/2021</a:t>
            </a:fld>
            <a:endParaRPr lang="en-GB"/>
          </a:p>
        </p:txBody>
      </p:sp>
      <p:sp>
        <p:nvSpPr>
          <p:cNvPr id="1085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85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064" y="4716237"/>
            <a:ext cx="5437550" cy="44667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976" tIns="46488" rIns="92976" bIns="4648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85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831"/>
            <a:ext cx="2945955" cy="495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976" tIns="46488" rIns="92976" bIns="46488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246" y="9430831"/>
            <a:ext cx="2945955" cy="495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976" tIns="46488" rIns="92976" bIns="46488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D779895-3E67-4CB8-BE0C-23F3FD5FF7F3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6162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609539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1219080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82861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243815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3047696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235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77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31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779895-3E67-4CB8-BE0C-23F3FD5FF7F3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97139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779895-3E67-4CB8-BE0C-23F3FD5FF7F3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84893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779895-3E67-4CB8-BE0C-23F3FD5FF7F3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60960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779895-3E67-4CB8-BE0C-23F3FD5FF7F3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99980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Base Case 2020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04472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5399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1" y="0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2379" y="255600"/>
            <a:ext cx="1547332" cy="457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30814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5399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1" y="0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7EF46B65-58C7-4BF4-B402-D21DCC45562C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4769A89-F694-4BC2-B8EA-1E2093D69AA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79" y="208023"/>
            <a:ext cx="1153207" cy="514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95900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8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0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61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499534-3473-4E22-AB07-600AA3C32E6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79" y="208022"/>
            <a:ext cx="1736469" cy="51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7577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8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0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61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9" name="Round Diagonal Corner Rectangle 4">
            <a:extLst>
              <a:ext uri="{FF2B5EF4-FFF2-40B4-BE49-F238E27FC236}">
                <a16:creationId xmlns:a16="http://schemas.microsoft.com/office/drawing/2014/main" id="{DE53115C-105A-4CE7-BEF2-2D7D7A9604F8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1A4C1D0B-5407-4DAA-8724-B6778E12A96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79" y="208022"/>
            <a:ext cx="1736469" cy="51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49882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8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0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61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2379" y="255600"/>
            <a:ext cx="1547332" cy="457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63177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8505645" y="4778375"/>
            <a:ext cx="638355" cy="365125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600" smtClean="0"/>
              <a:pPr/>
              <a:t>‹#›</a:t>
            </a:fld>
            <a:endParaRPr lang="en-GB" sz="6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105025" y="2051785"/>
            <a:ext cx="4933950" cy="1039932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5501122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Mast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183435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title here (28pt)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22780" y="1058864"/>
            <a:ext cx="8498440" cy="1877437"/>
          </a:xfrm>
        </p:spPr>
        <p:txBody>
          <a:bodyPr/>
          <a:lstStyle>
            <a:lvl1pPr>
              <a:buClr>
                <a:srgbClr val="78A22F"/>
              </a:buClr>
              <a:defRPr/>
            </a:lvl1pPr>
            <a:lvl2pPr>
              <a:buClr>
                <a:srgbClr val="78A22F"/>
              </a:buClr>
              <a:defRPr/>
            </a:lvl2pPr>
            <a:lvl3pPr>
              <a:buClr>
                <a:srgbClr val="78A22F"/>
              </a:buClr>
              <a:defRPr/>
            </a:lvl3pPr>
            <a:lvl4pPr>
              <a:buClr>
                <a:srgbClr val="78A22F"/>
              </a:buClr>
              <a:defRPr/>
            </a:lvl4pPr>
            <a:lvl5pPr marL="876212" indent="-203577">
              <a:buClr>
                <a:srgbClr val="78A22F"/>
              </a:buClr>
              <a:defRPr/>
            </a:lvl5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05648" y="4869657"/>
            <a:ext cx="638355" cy="273844"/>
          </a:xfrm>
          <a:prstGeom prst="rect">
            <a:avLst/>
          </a:prstGeom>
        </p:spPr>
        <p:txBody>
          <a:bodyPr anchor="b"/>
          <a:lstStyle>
            <a:lvl1pPr algn="r">
              <a:defRPr lang="en-GB" sz="750" b="0" smtClean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fld id="{C765D33F-A874-457A-8BB6-233806FE718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627932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E86A19-AA42-4A46-84FE-89DB3E1A866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2F72A78-C020-4DCA-AB02-E9A68A5D43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121396-B8B1-48CA-8B32-1ECB4C5A1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575644-EA44-4D04-98E4-4198B0375F71}" type="datetime1">
              <a:rPr lang="en-US" smtClean="0"/>
              <a:t>4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D870FF-8951-423C-8DD2-1A37848F1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 Base Case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C9F1A8-7E58-4567-B5F4-B0F6BEBEDF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DB666-1C4C-4CDB-8EB5-5513328B8A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1542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2861D3-0745-4489-BAB0-FF33F8D25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4784F3-86B9-4EB9-A251-FDF36E17B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529D99-EF7B-456A-92F1-C1A3182919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4C223-0FFE-4F06-9590-9BE27C860176}" type="datetime1">
              <a:rPr lang="en-US" smtClean="0"/>
              <a:t>4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3A6B40-ED84-42B7-8107-0DA612CDF6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 Base Case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8F4B39-7280-4236-8776-95AE0EADAB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DB666-1C4C-4CDB-8EB5-5513328B8A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5013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CF8223-ECD0-4854-9973-271B5C5656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01ED33-3A4C-4A73-8A41-BA5CD547F5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776DAE-D2FC-49C3-9059-FFADAB143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BD942D-BCF6-4392-B6C4-680404E8935F}" type="datetime1">
              <a:rPr lang="en-US" smtClean="0"/>
              <a:t>4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985120-A6C0-4E8D-A93B-225AE58734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 Base Case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E94D05-08A0-4A23-BBC0-D2009C13D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DB666-1C4C-4CDB-8EB5-5513328B8A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1375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47723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1" y="1062500"/>
            <a:ext cx="55434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780" y="267573"/>
            <a:ext cx="5544620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Base Case 2020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86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6D3FAD-6D70-4D14-8F7E-A9BCCF680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C774A4-60BF-4025-A206-1DD99B10BC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FC2D1EC-2D9F-49E0-AEE3-0749BBE6D9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21946D-ACBD-48AA-9D89-AE89E35365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A60512-25DA-48D9-90D9-9C8B84B23EC1}" type="datetime1">
              <a:rPr lang="en-US" smtClean="0"/>
              <a:t>4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3D9260-9946-4F40-BCA9-7EE4ADFA7D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 Base Case 2020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30EEFC-9973-4A35-8BE1-44112E2BD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DB666-1C4C-4CDB-8EB5-5513328B8A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52658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2E49B8-690C-4C31-8C28-FBD32B658E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DCBE42-7DCB-4411-92F7-0C5694A9D5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F7DF07-D342-439A-B86E-23B6E20307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DB566BA-5CC6-4E10-B23D-E5757DBB4D4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FFFE96-8BBA-4201-8941-ECC5F74DA29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D4B6A4B-C9AC-494A-ACFB-7F4EB12059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5A477-4613-40E4-BB07-FEC571C36F81}" type="datetime1">
              <a:rPr lang="en-US" smtClean="0"/>
              <a:t>4/15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900D2E2-D3A0-4213-9303-E9F6BC8AC1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 Base Case 2020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DC98684-6DCB-4859-8524-ED60245D0B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DB666-1C4C-4CDB-8EB5-5513328B8A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5732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D75EE3-4F92-4C15-B5C8-BB652C0948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24F1912-003E-4DF0-B2E9-068CF5ECB0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251A29-49D5-471F-9A85-7ED41A794C73}" type="datetime1">
              <a:rPr lang="en-US" smtClean="0"/>
              <a:t>4/15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ACD2AB-C62F-4BB3-A637-CDF712BE1B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 Base Case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9647E00-BE91-4170-826D-8E4E3E8CD1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DB666-1C4C-4CDB-8EB5-5513328B8A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1369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6CA087-5BA1-4332-88A0-6FF50D0AB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10661A-EEE3-4362-99B6-0AD6C3D4B764}" type="datetime1">
              <a:rPr lang="en-US" smtClean="0"/>
              <a:t>4/15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301B7D-07AB-4CD1-A2B5-834129A69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 Base Case 202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57E8EE-7ABD-49D4-BDF4-16859247CF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DB666-1C4C-4CDB-8EB5-5513328B8A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6131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84037-9D9B-4D91-BAF2-81F0EC6A7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8B4E8A-D50E-4ED1-A687-4B4D86E1F2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645CDE-0576-45F5-B8D1-D9E033CB5A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746B50C-384B-4032-8860-AD7CE4C129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E55466-BD1E-42A0-8804-CF4073A42CDF}" type="datetime1">
              <a:rPr lang="en-US" smtClean="0"/>
              <a:t>4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5A7437B-92CF-47FD-B0E0-240D95EC47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 Base Case 2020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1D7FA0-6665-4FC7-9CD2-239F2F72DD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DB666-1C4C-4CDB-8EB5-5513328B8A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4453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5CA9A3-3CF1-4DB2-9853-06B540C5C1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4760776-9288-468D-A340-18631D9C379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39E0CB-B557-4102-8549-3D8CA9144E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0124D7-8E5D-4F45-A3BF-DEA87F6E5E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18BED-C33D-4BAB-BB34-CC0EB57C69DB}" type="datetime1">
              <a:rPr lang="en-US" smtClean="0"/>
              <a:t>4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6FC242-F58A-4DB8-BC42-109D4C2A55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 Base Case 2020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2F591D-1E2B-4548-BDBD-B80636E1F6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DB666-1C4C-4CDB-8EB5-5513328B8A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5936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E9BAFD-AD64-4A1B-AA05-206A950A3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8CBE921-4F8D-46B5-8895-3CF8D716DD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A0819E-0F26-4D0A-B2BD-38D9427FF6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A38FDF-099C-4DA0-817D-79ECD779E090}" type="datetime1">
              <a:rPr lang="en-US" smtClean="0"/>
              <a:t>4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38F6A8-C3AD-490C-BD6A-2DDA8D387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 Base Case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7F2FE2-11DD-4F87-9D04-0008E7272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DB666-1C4C-4CDB-8EB5-5513328B8A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2559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4390E39-9C63-4CBF-9894-7171B521920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9E91D2F-54CC-47CD-9AEE-A2B6DA954E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F64DF3-6900-43CC-A40E-485F0C391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3EDB7-C9F1-458D-9E49-D563D92DE98B}" type="datetime1">
              <a:rPr lang="en-US" smtClean="0"/>
              <a:t>4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446B5D-977D-4549-BD62-EDD6CD0475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 Base Case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7C94DC-EEC2-4FBA-8BCD-F44DD83DC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DB666-1C4C-4CDB-8EB5-5513328B8A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1411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926009-453A-4077-92BA-84B55A0EA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23CFFF0-A483-49A0-B527-2A57BCB990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A3A72B-0884-4A16-9C9E-EE024352A342}" type="datetime1">
              <a:rPr lang="en-US" smtClean="0"/>
              <a:t>4/15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F185A6F-6F30-44C4-9AE8-618899A721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 Base Case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278437-C022-4CDA-9032-CA56C8D206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DB666-1C4C-4CDB-8EB5-5513328B8A7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DD00FE9-08C8-422D-806C-B919C9B14ED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602663" y="79375"/>
            <a:ext cx="541337" cy="304800"/>
          </a:xfrm>
        </p:spPr>
        <p:txBody>
          <a:bodyPr/>
          <a:lstStyle/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71389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27763" y="1062038"/>
            <a:ext cx="2577149" cy="3454400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0" y="1062500"/>
            <a:ext cx="2592239" cy="1569660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76600" y="1062500"/>
            <a:ext cx="2592000" cy="1569660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Base Case 2020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9206425" y="2140326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85597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Base Case 2020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2780" y="1068388"/>
            <a:ext cx="5544621" cy="32940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74085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23850" y="1062500"/>
            <a:ext cx="849600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Base Case 2020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9206425" y="0"/>
            <a:ext cx="2029736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 anchorCtr="0">
            <a:spAutoFit/>
          </a:bodyPr>
          <a:lstStyle/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192424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1" y="0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5399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5581691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1" y="0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5399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4789413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5399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1" y="0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43C6D98-1722-4E05-929E-AB343311CA2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79" y="208022"/>
            <a:ext cx="1736469" cy="51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66274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5399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1" y="0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6" name="Round Diagonal Corner Rectangle 4">
            <a:extLst>
              <a:ext uri="{FF2B5EF4-FFF2-40B4-BE49-F238E27FC236}">
                <a16:creationId xmlns:a16="http://schemas.microsoft.com/office/drawing/2014/main" id="{A8CD0164-38F9-45E8-BBCE-ACF9D4084AC5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45BF049-76A9-444A-BE2F-250E5729485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79" y="208022"/>
            <a:ext cx="1736469" cy="51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64790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9252321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391C01-A934-4AA1-A0D4-3727728A48FD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0"/>
              </a:spcAft>
            </a:pPr>
            <a:endParaRPr lang="en-US" sz="24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322780" y="267573"/>
            <a:ext cx="849737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2780" y="1058864"/>
            <a:ext cx="8498440" cy="3600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286937" y="4740424"/>
            <a:ext cx="534283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100" smtClean="0">
                <a:solidFill>
                  <a:schemeClr val="accent1"/>
                </a:solidFill>
              </a:rPr>
              <a:pPr/>
              <a:t>‹#›</a:t>
            </a:fld>
            <a:endParaRPr lang="en-GB" sz="1100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4838" y="4740424"/>
            <a:ext cx="7195415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100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Base Case 2020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 userDrawn="1"/>
        </p:nvSpPr>
        <p:spPr>
          <a:xfrm>
            <a:off x="322780" y="4740424"/>
            <a:ext cx="912058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989013" algn="l"/>
              </a:tabLst>
            </a:pPr>
            <a:r>
              <a:rPr lang="fr-FR" b="1"/>
              <a:t>National Grid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800" r:id="rId2"/>
    <p:sldLayoutId id="2147483813" r:id="rId3"/>
    <p:sldLayoutId id="2147483786" r:id="rId4"/>
    <p:sldLayoutId id="2147483814" r:id="rId5"/>
    <p:sldLayoutId id="2147483790" r:id="rId6"/>
    <p:sldLayoutId id="2147483817" r:id="rId7"/>
    <p:sldLayoutId id="2147483795" r:id="rId8"/>
    <p:sldLayoutId id="2147483796" r:id="rId9"/>
    <p:sldLayoutId id="2147483815" r:id="rId10"/>
    <p:sldLayoutId id="2147483794" r:id="rId11"/>
    <p:sldLayoutId id="2147483797" r:id="rId12"/>
    <p:sldLayoutId id="2147483798" r:id="rId13"/>
    <p:sldLayoutId id="2147483816" r:id="rId14"/>
    <p:sldLayoutId id="2147483784" r:id="rId15"/>
    <p:sldLayoutId id="2147483822" r:id="rId16"/>
  </p:sldLayoutIdLst>
  <p:transition>
    <p:fade/>
  </p:transition>
  <p:hf sldNum="0"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342866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685732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028598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371464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8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7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24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tx1"/>
          </a:solidFill>
          <a:latin typeface="+mn-lt"/>
          <a:ea typeface="+mn-ea"/>
        </a:defRPr>
      </a:lvl2pPr>
      <a:lvl3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  <a:ea typeface="+mn-ea"/>
        </a:defRPr>
      </a:lvl4pPr>
      <a:lvl5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◦"/>
        <a:defRPr sz="1200">
          <a:solidFill>
            <a:schemeClr val="tx1"/>
          </a:solidFill>
          <a:latin typeface="+mn-lt"/>
          <a:ea typeface="+mn-ea"/>
        </a:defRPr>
      </a:lvl5pPr>
      <a:lvl6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rabicPeriod"/>
        <a:defRPr sz="1200">
          <a:solidFill>
            <a:schemeClr val="tx1"/>
          </a:solidFill>
          <a:latin typeface="+mn-lt"/>
          <a:ea typeface="+mn-ea"/>
        </a:defRPr>
      </a:lvl6pPr>
      <a:lvl7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lphaLcPeriod"/>
        <a:defRPr sz="1200">
          <a:solidFill>
            <a:schemeClr val="tx1"/>
          </a:solidFill>
          <a:latin typeface="+mn-lt"/>
          <a:ea typeface="+mn-ea"/>
        </a:defRPr>
      </a:lvl7pPr>
      <a:lvl8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romanLcPeriod"/>
        <a:defRPr sz="12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 userDrawn="1">
          <p15:clr>
            <a:srgbClr val="F26B43"/>
          </p15:clr>
        </p15:guide>
        <p15:guide id="4" pos="5556" userDrawn="1">
          <p15:clr>
            <a:srgbClr val="F26B43"/>
          </p15:clr>
        </p15:guide>
        <p15:guide id="6" orient="horz" pos="2845" userDrawn="1">
          <p15:clr>
            <a:srgbClr val="F26B43"/>
          </p15:clr>
        </p15:guide>
        <p15:guide id="8" pos="204" userDrawn="1">
          <p15:clr>
            <a:srgbClr val="F26B43"/>
          </p15:clr>
        </p15:guide>
        <p15:guide id="13" pos="2993" userDrawn="1">
          <p15:clr>
            <a:srgbClr val="F26B43"/>
          </p15:clr>
        </p15:guide>
        <p15:guide id="14" orient="horz" pos="350" userDrawn="1">
          <p15:clr>
            <a:srgbClr val="F26B43"/>
          </p15:clr>
        </p15:guide>
        <p15:guide id="15" orient="horz" pos="667" userDrawn="1">
          <p15:clr>
            <a:srgbClr val="F26B43"/>
          </p15:clr>
        </p15:guide>
        <p15:guide id="16" pos="2064" userDrawn="1">
          <p15:clr>
            <a:srgbClr val="F26B43"/>
          </p15:clr>
        </p15:guide>
        <p15:guide id="17" pos="3923" userDrawn="1">
          <p15:clr>
            <a:srgbClr val="F26B43"/>
          </p15:clr>
        </p15:guide>
        <p15:guide id="18" pos="3696" userDrawn="1">
          <p15:clr>
            <a:srgbClr val="F26B43"/>
          </p15:clr>
        </p15:guide>
        <p15:guide id="19" pos="183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7C7036-00AA-481D-A79E-DC78018A30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1692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7C7036-00AA-481D-A79E-DC78018A30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E39BE10-ADE5-45CA-B2A7-050D6E9D9C40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DFFAEC8-1373-4A0E-A3A4-BDB733A632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4BB061-502D-4630-826C-493EEF9E4D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A74C1E-7648-43A0-A42E-6BF4F61D39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1BCCEF-B3B4-4531-A405-A7462D35DF80}" type="datetime1">
              <a:rPr lang="en-US" smtClean="0"/>
              <a:t>4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53C043-8070-4EBC-A0B7-4C3B74FECD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| Base Case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E426A6-D8CE-46E0-94D9-BF323881C8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3DB666-1C4C-4CDB-8EB5-5513328B8A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105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7" r:id="rId12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10.xml"/><Relationship Id="rId7" Type="http://schemas.openxmlformats.org/officeDocument/2006/relationships/image" Target="../media/image12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1.xml"/><Relationship Id="rId9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tags" Target="../tags/tag38.xml"/><Relationship Id="rId39" Type="http://schemas.openxmlformats.org/officeDocument/2006/relationships/tags" Target="../tags/tag51.xml"/><Relationship Id="rId3" Type="http://schemas.openxmlformats.org/officeDocument/2006/relationships/tags" Target="../tags/tag15.xml"/><Relationship Id="rId21" Type="http://schemas.openxmlformats.org/officeDocument/2006/relationships/tags" Target="../tags/tag33.xml"/><Relationship Id="rId34" Type="http://schemas.openxmlformats.org/officeDocument/2006/relationships/tags" Target="../tags/tag46.xml"/><Relationship Id="rId42" Type="http://schemas.openxmlformats.org/officeDocument/2006/relationships/image" Target="../media/image1.emf"/><Relationship Id="rId47" Type="http://schemas.openxmlformats.org/officeDocument/2006/relationships/image" Target="../media/image17.png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tags" Target="../tags/tag37.xml"/><Relationship Id="rId33" Type="http://schemas.openxmlformats.org/officeDocument/2006/relationships/tags" Target="../tags/tag45.xml"/><Relationship Id="rId38" Type="http://schemas.openxmlformats.org/officeDocument/2006/relationships/tags" Target="../tags/tag50.xml"/><Relationship Id="rId46" Type="http://schemas.openxmlformats.org/officeDocument/2006/relationships/chart" Target="../charts/chart2.xml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20" Type="http://schemas.openxmlformats.org/officeDocument/2006/relationships/tags" Target="../tags/tag32.xml"/><Relationship Id="rId29" Type="http://schemas.openxmlformats.org/officeDocument/2006/relationships/tags" Target="../tags/tag41.xml"/><Relationship Id="rId41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24" Type="http://schemas.openxmlformats.org/officeDocument/2006/relationships/tags" Target="../tags/tag36.xml"/><Relationship Id="rId32" Type="http://schemas.openxmlformats.org/officeDocument/2006/relationships/tags" Target="../tags/tag44.xml"/><Relationship Id="rId37" Type="http://schemas.openxmlformats.org/officeDocument/2006/relationships/tags" Target="../tags/tag49.xml"/><Relationship Id="rId40" Type="http://schemas.openxmlformats.org/officeDocument/2006/relationships/slideLayout" Target="../slideLayouts/slideLayout2.xml"/><Relationship Id="rId45" Type="http://schemas.openxmlformats.org/officeDocument/2006/relationships/chart" Target="../charts/chart1.xml"/><Relationship Id="rId5" Type="http://schemas.openxmlformats.org/officeDocument/2006/relationships/tags" Target="../tags/tag17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28" Type="http://schemas.openxmlformats.org/officeDocument/2006/relationships/tags" Target="../tags/tag40.xml"/><Relationship Id="rId36" Type="http://schemas.openxmlformats.org/officeDocument/2006/relationships/tags" Target="../tags/tag48.xml"/><Relationship Id="rId10" Type="http://schemas.openxmlformats.org/officeDocument/2006/relationships/tags" Target="../tags/tag22.xml"/><Relationship Id="rId19" Type="http://schemas.openxmlformats.org/officeDocument/2006/relationships/tags" Target="../tags/tag31.xml"/><Relationship Id="rId31" Type="http://schemas.openxmlformats.org/officeDocument/2006/relationships/tags" Target="../tags/tag43.xml"/><Relationship Id="rId44" Type="http://schemas.openxmlformats.org/officeDocument/2006/relationships/image" Target="../media/image16.png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tags" Target="../tags/tag39.xml"/><Relationship Id="rId30" Type="http://schemas.openxmlformats.org/officeDocument/2006/relationships/tags" Target="../tags/tag42.xml"/><Relationship Id="rId35" Type="http://schemas.openxmlformats.org/officeDocument/2006/relationships/tags" Target="../tags/tag47.xml"/><Relationship Id="rId43" Type="http://schemas.openxmlformats.org/officeDocument/2006/relationships/image" Target="../media/image15.png"/><Relationship Id="rId48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12" Type="http://schemas.openxmlformats.org/officeDocument/2006/relationships/hyperlink" Target="https://assets.publishing.service.gov.uk/government/uploads/system/uploads/attachment_data/file/806025/Conversion-Factors-2019-Condensed-set-for-most-users.xls" TargetMode="External"/><Relationship Id="rId2" Type="http://schemas.openxmlformats.org/officeDocument/2006/relationships/tags" Target="../tags/tag5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9.emf"/><Relationship Id="rId11" Type="http://schemas.openxmlformats.org/officeDocument/2006/relationships/image" Target="../media/image22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1.emf"/><Relationship Id="rId2" Type="http://schemas.openxmlformats.org/officeDocument/2006/relationships/tags" Target="../tags/tag5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26" Type="http://schemas.openxmlformats.org/officeDocument/2006/relationships/tags" Target="../tags/tag80.xml"/><Relationship Id="rId39" Type="http://schemas.openxmlformats.org/officeDocument/2006/relationships/tags" Target="../tags/tag93.xml"/><Relationship Id="rId3" Type="http://schemas.openxmlformats.org/officeDocument/2006/relationships/tags" Target="../tags/tag57.xml"/><Relationship Id="rId21" Type="http://schemas.openxmlformats.org/officeDocument/2006/relationships/tags" Target="../tags/tag75.xml"/><Relationship Id="rId34" Type="http://schemas.openxmlformats.org/officeDocument/2006/relationships/tags" Target="../tags/tag88.xml"/><Relationship Id="rId42" Type="http://schemas.openxmlformats.org/officeDocument/2006/relationships/tags" Target="../tags/tag96.xml"/><Relationship Id="rId47" Type="http://schemas.openxmlformats.org/officeDocument/2006/relationships/oleObject" Target="../embeddings/oleObject11.bin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5" Type="http://schemas.openxmlformats.org/officeDocument/2006/relationships/tags" Target="../tags/tag79.xml"/><Relationship Id="rId33" Type="http://schemas.openxmlformats.org/officeDocument/2006/relationships/tags" Target="../tags/tag87.xml"/><Relationship Id="rId38" Type="http://schemas.openxmlformats.org/officeDocument/2006/relationships/tags" Target="../tags/tag92.xml"/><Relationship Id="rId46" Type="http://schemas.openxmlformats.org/officeDocument/2006/relationships/notesSlide" Target="../notesSlides/notesSlide3.xml"/><Relationship Id="rId2" Type="http://schemas.openxmlformats.org/officeDocument/2006/relationships/tags" Target="../tags/tag56.xml"/><Relationship Id="rId16" Type="http://schemas.openxmlformats.org/officeDocument/2006/relationships/tags" Target="../tags/tag70.xml"/><Relationship Id="rId20" Type="http://schemas.openxmlformats.org/officeDocument/2006/relationships/tags" Target="../tags/tag74.xml"/><Relationship Id="rId29" Type="http://schemas.openxmlformats.org/officeDocument/2006/relationships/tags" Target="../tags/tag83.xml"/><Relationship Id="rId41" Type="http://schemas.openxmlformats.org/officeDocument/2006/relationships/tags" Target="../tags/tag95.xml"/><Relationship Id="rId1" Type="http://schemas.openxmlformats.org/officeDocument/2006/relationships/vmlDrawing" Target="../drawings/vmlDrawing11.v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24" Type="http://schemas.openxmlformats.org/officeDocument/2006/relationships/tags" Target="../tags/tag78.xml"/><Relationship Id="rId32" Type="http://schemas.openxmlformats.org/officeDocument/2006/relationships/tags" Target="../tags/tag86.xml"/><Relationship Id="rId37" Type="http://schemas.openxmlformats.org/officeDocument/2006/relationships/tags" Target="../tags/tag91.xml"/><Relationship Id="rId40" Type="http://schemas.openxmlformats.org/officeDocument/2006/relationships/tags" Target="../tags/tag94.xml"/><Relationship Id="rId45" Type="http://schemas.openxmlformats.org/officeDocument/2006/relationships/slideLayout" Target="../slideLayouts/slideLayout2.xml"/><Relationship Id="rId5" Type="http://schemas.openxmlformats.org/officeDocument/2006/relationships/tags" Target="../tags/tag59.xml"/><Relationship Id="rId15" Type="http://schemas.openxmlformats.org/officeDocument/2006/relationships/tags" Target="../tags/tag69.xml"/><Relationship Id="rId23" Type="http://schemas.openxmlformats.org/officeDocument/2006/relationships/tags" Target="../tags/tag77.xml"/><Relationship Id="rId28" Type="http://schemas.openxmlformats.org/officeDocument/2006/relationships/tags" Target="../tags/tag82.xml"/><Relationship Id="rId36" Type="http://schemas.openxmlformats.org/officeDocument/2006/relationships/tags" Target="../tags/tag90.xml"/><Relationship Id="rId49" Type="http://schemas.openxmlformats.org/officeDocument/2006/relationships/chart" Target="../charts/chart3.xml"/><Relationship Id="rId10" Type="http://schemas.openxmlformats.org/officeDocument/2006/relationships/tags" Target="../tags/tag64.xml"/><Relationship Id="rId19" Type="http://schemas.openxmlformats.org/officeDocument/2006/relationships/tags" Target="../tags/tag73.xml"/><Relationship Id="rId31" Type="http://schemas.openxmlformats.org/officeDocument/2006/relationships/tags" Target="../tags/tag85.xml"/><Relationship Id="rId44" Type="http://schemas.openxmlformats.org/officeDocument/2006/relationships/tags" Target="../tags/tag98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tags" Target="../tags/tag68.xml"/><Relationship Id="rId22" Type="http://schemas.openxmlformats.org/officeDocument/2006/relationships/tags" Target="../tags/tag76.xml"/><Relationship Id="rId27" Type="http://schemas.openxmlformats.org/officeDocument/2006/relationships/tags" Target="../tags/tag81.xml"/><Relationship Id="rId30" Type="http://schemas.openxmlformats.org/officeDocument/2006/relationships/tags" Target="../tags/tag84.xml"/><Relationship Id="rId35" Type="http://schemas.openxmlformats.org/officeDocument/2006/relationships/tags" Target="../tags/tag89.xml"/><Relationship Id="rId43" Type="http://schemas.openxmlformats.org/officeDocument/2006/relationships/tags" Target="../tags/tag97.xml"/><Relationship Id="rId48" Type="http://schemas.openxmlformats.org/officeDocument/2006/relationships/image" Target="../media/image1.emf"/><Relationship Id="rId8" Type="http://schemas.openxmlformats.org/officeDocument/2006/relationships/tags" Target="../tags/tag6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tags" Target="../tags/tag110.xml"/><Relationship Id="rId18" Type="http://schemas.openxmlformats.org/officeDocument/2006/relationships/tags" Target="../tags/tag115.xml"/><Relationship Id="rId26" Type="http://schemas.openxmlformats.org/officeDocument/2006/relationships/tags" Target="../tags/tag123.xml"/><Relationship Id="rId3" Type="http://schemas.openxmlformats.org/officeDocument/2006/relationships/tags" Target="../tags/tag100.xml"/><Relationship Id="rId21" Type="http://schemas.openxmlformats.org/officeDocument/2006/relationships/tags" Target="../tags/tag118.xml"/><Relationship Id="rId34" Type="http://schemas.openxmlformats.org/officeDocument/2006/relationships/notesSlide" Target="../notesSlides/notesSlide4.xml"/><Relationship Id="rId7" Type="http://schemas.openxmlformats.org/officeDocument/2006/relationships/tags" Target="../tags/tag104.xml"/><Relationship Id="rId12" Type="http://schemas.openxmlformats.org/officeDocument/2006/relationships/tags" Target="../tags/tag109.xml"/><Relationship Id="rId17" Type="http://schemas.openxmlformats.org/officeDocument/2006/relationships/tags" Target="../tags/tag114.xml"/><Relationship Id="rId25" Type="http://schemas.openxmlformats.org/officeDocument/2006/relationships/tags" Target="../tags/tag122.xml"/><Relationship Id="rId33" Type="http://schemas.openxmlformats.org/officeDocument/2006/relationships/slideLayout" Target="../slideLayouts/slideLayout2.xml"/><Relationship Id="rId2" Type="http://schemas.openxmlformats.org/officeDocument/2006/relationships/tags" Target="../tags/tag99.xml"/><Relationship Id="rId16" Type="http://schemas.openxmlformats.org/officeDocument/2006/relationships/tags" Target="../tags/tag113.xml"/><Relationship Id="rId20" Type="http://schemas.openxmlformats.org/officeDocument/2006/relationships/tags" Target="../tags/tag117.xml"/><Relationship Id="rId29" Type="http://schemas.openxmlformats.org/officeDocument/2006/relationships/tags" Target="../tags/tag126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03.xml"/><Relationship Id="rId11" Type="http://schemas.openxmlformats.org/officeDocument/2006/relationships/tags" Target="../tags/tag108.xml"/><Relationship Id="rId24" Type="http://schemas.openxmlformats.org/officeDocument/2006/relationships/tags" Target="../tags/tag121.xml"/><Relationship Id="rId32" Type="http://schemas.openxmlformats.org/officeDocument/2006/relationships/tags" Target="../tags/tag129.xml"/><Relationship Id="rId37" Type="http://schemas.openxmlformats.org/officeDocument/2006/relationships/chart" Target="../charts/chart4.xml"/><Relationship Id="rId5" Type="http://schemas.openxmlformats.org/officeDocument/2006/relationships/tags" Target="../tags/tag102.xml"/><Relationship Id="rId15" Type="http://schemas.openxmlformats.org/officeDocument/2006/relationships/tags" Target="../tags/tag112.xml"/><Relationship Id="rId23" Type="http://schemas.openxmlformats.org/officeDocument/2006/relationships/tags" Target="../tags/tag120.xml"/><Relationship Id="rId28" Type="http://schemas.openxmlformats.org/officeDocument/2006/relationships/tags" Target="../tags/tag125.xml"/><Relationship Id="rId36" Type="http://schemas.openxmlformats.org/officeDocument/2006/relationships/image" Target="../media/image1.emf"/><Relationship Id="rId10" Type="http://schemas.openxmlformats.org/officeDocument/2006/relationships/tags" Target="../tags/tag107.xml"/><Relationship Id="rId19" Type="http://schemas.openxmlformats.org/officeDocument/2006/relationships/tags" Target="../tags/tag116.xml"/><Relationship Id="rId31" Type="http://schemas.openxmlformats.org/officeDocument/2006/relationships/tags" Target="../tags/tag128.xml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4" Type="http://schemas.openxmlformats.org/officeDocument/2006/relationships/tags" Target="../tags/tag111.xml"/><Relationship Id="rId22" Type="http://schemas.openxmlformats.org/officeDocument/2006/relationships/tags" Target="../tags/tag119.xml"/><Relationship Id="rId27" Type="http://schemas.openxmlformats.org/officeDocument/2006/relationships/tags" Target="../tags/tag124.xml"/><Relationship Id="rId30" Type="http://schemas.openxmlformats.org/officeDocument/2006/relationships/tags" Target="../tags/tag127.xml"/><Relationship Id="rId35" Type="http://schemas.openxmlformats.org/officeDocument/2006/relationships/oleObject" Target="../embeddings/oleObject1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085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2FF41C-94C4-4F5D-AEE1-B1589E0E996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450"/>
              </a:spcAft>
            </a:pPr>
            <a:endParaRPr lang="en-US" sz="2000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0000"/>
              </a:lnSpc>
              <a:spcAft>
                <a:spcPct val="0"/>
              </a:spcAft>
            </a:pPr>
            <a:endParaRPr lang="en-US" sz="2000" dirty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F97C5612-773A-4623-A669-371D5876778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8"/>
          <a:srcRect t="12527" b="12527"/>
          <a:stretch>
            <a:fillRect/>
          </a:stretch>
        </p:blipFill>
        <p:spPr bwMode="gray"/>
      </p:pic>
      <p:sp>
        <p:nvSpPr>
          <p:cNvPr id="24" name="Title 23">
            <a:extLst>
              <a:ext uri="{FF2B5EF4-FFF2-40B4-BE49-F238E27FC236}">
                <a16:creationId xmlns:a16="http://schemas.microsoft.com/office/drawing/2014/main" id="{D11F48BE-96B2-4B10-82E2-0149C7A901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84" y="1014183"/>
            <a:ext cx="4798396" cy="1038294"/>
          </a:xfrm>
        </p:spPr>
        <p:txBody>
          <a:bodyPr vert="horz"/>
          <a:lstStyle/>
          <a:p>
            <a:r>
              <a:rPr lang="en-US" sz="2000" dirty="0"/>
              <a:t>GB &amp; EU Power Markets</a:t>
            </a:r>
            <a:endParaRPr lang="en-GB" sz="2000" dirty="0"/>
          </a:p>
        </p:txBody>
      </p:sp>
      <p:pic>
        <p:nvPicPr>
          <p:cNvPr id="14" name="Picture Placeholder 13"/>
          <p:cNvPicPr>
            <a:picLocks noGrp="1" noChangeAspect="1"/>
          </p:cNvPicPr>
          <p:nvPr>
            <p:ph type="pic" sz="quarter" idx="11"/>
          </p:nvPr>
        </p:nvPicPr>
        <p:blipFill>
          <a:blip r:embed="rId9"/>
          <a:srcRect t="25548" b="25548"/>
          <a:stretch>
            <a:fillRect/>
          </a:stretch>
        </p:blipFill>
        <p:spPr/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6AEB62-32F9-4C73-B355-2972988F8D8F}"/>
              </a:ext>
            </a:extLst>
          </p:cNvPr>
          <p:cNvSpPr txBox="1">
            <a:spLocks/>
          </p:cNvSpPr>
          <p:nvPr/>
        </p:nvSpPr>
        <p:spPr bwMode="auto">
          <a:xfrm>
            <a:off x="334984" y="2306654"/>
            <a:ext cx="5378452" cy="1600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bg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r>
              <a:rPr lang="en-US" b="0" dirty="0"/>
              <a:t>April 2021</a:t>
            </a:r>
          </a:p>
          <a:p>
            <a:r>
              <a:rPr lang="en-GB" b="0" dirty="0"/>
              <a:t>Market Fundamentals</a:t>
            </a:r>
            <a:br>
              <a:rPr lang="en-GB" b="0" dirty="0"/>
            </a:br>
            <a:br>
              <a:rPr lang="en-GB" sz="1600" dirty="0">
                <a:solidFill>
                  <a:srgbClr val="FF0000"/>
                </a:solidFill>
              </a:rPr>
            </a:br>
            <a:r>
              <a:rPr lang="en-GB" sz="1600" dirty="0">
                <a:solidFill>
                  <a:srgbClr val="FF0000"/>
                </a:solidFill>
              </a:rPr>
              <a:t>For internal use only</a:t>
            </a:r>
            <a:br>
              <a:rPr lang="en-GB" b="0" dirty="0"/>
            </a:b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306799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2172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2239018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68C75FBF-C860-4498-94B4-C392DA95BE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4816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68C75FBF-C860-4498-94B4-C392DA95BE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EE1CD1E0-9F2D-4D9A-9009-D102E93B297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450"/>
              </a:spcAft>
            </a:pPr>
            <a:endParaRPr lang="en-GB" sz="2000" b="0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46FAF3-8B6C-41FC-AA33-0EC86CC35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780" y="267573"/>
            <a:ext cx="8497370" cy="430887"/>
          </a:xfrm>
        </p:spPr>
        <p:txBody>
          <a:bodyPr vert="horz"/>
          <a:lstStyle/>
          <a:p>
            <a:r>
              <a:rPr lang="en-GB" sz="2000" b="0" dirty="0"/>
              <a:t>European Power Markets</a:t>
            </a:r>
            <a:endParaRPr lang="en-US" sz="2000" dirty="0"/>
          </a:p>
        </p:txBody>
      </p:sp>
      <p:sp>
        <p:nvSpPr>
          <p:cNvPr id="4" name="AutoShape 3">
            <a:extLst>
              <a:ext uri="{FF2B5EF4-FFF2-40B4-BE49-F238E27FC236}">
                <a16:creationId xmlns:a16="http://schemas.microsoft.com/office/drawing/2014/main" id="{E1E531F1-C3A9-4EF5-B8D0-9EF1390C97A3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952001" y="136894"/>
            <a:ext cx="759768" cy="2018212"/>
          </a:xfrm>
          <a:prstGeom prst="chevron">
            <a:avLst>
              <a:gd name="adj" fmla="val 25000"/>
            </a:avLst>
          </a:prstGeom>
          <a:solidFill>
            <a:schemeClr val="accent1">
              <a:lumMod val="20000"/>
              <a:lumOff val="8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rot="10800000" vert="eaVert" lIns="88900" tIns="88900" rIns="88900" bIns="889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prstClr val="white"/>
                </a:solidFill>
                <a:latin typeface="Arial"/>
                <a:ea typeface="ＭＳ Ｐゴシック" pitchFamily="50" charset="-128"/>
              </a:rPr>
              <a:t>Capacity Markets</a:t>
            </a:r>
          </a:p>
        </p:txBody>
      </p:sp>
      <p:sp>
        <p:nvSpPr>
          <p:cNvPr id="5" name="AutoShape 4">
            <a:extLst>
              <a:ext uri="{FF2B5EF4-FFF2-40B4-BE49-F238E27FC236}">
                <a16:creationId xmlns:a16="http://schemas.microsoft.com/office/drawing/2014/main" id="{0DFF98F1-001B-489B-9875-D67975D798F0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937529" y="876034"/>
            <a:ext cx="788712" cy="2018212"/>
          </a:xfrm>
          <a:prstGeom prst="chevron">
            <a:avLst>
              <a:gd name="adj" fmla="val 25000"/>
            </a:avLst>
          </a:prstGeom>
          <a:solidFill>
            <a:schemeClr val="accent1">
              <a:lumMod val="40000"/>
              <a:lumOff val="6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rot="10800000" vert="eaVert" lIns="88900" tIns="88900" rIns="88900" bIns="889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prstClr val="white"/>
                </a:solidFill>
                <a:latin typeface="Arial"/>
                <a:ea typeface="ＭＳ Ｐゴシック" pitchFamily="50" charset="-128"/>
              </a:rPr>
              <a:t>Forwards/CFDs/PPAs</a:t>
            </a:r>
          </a:p>
        </p:txBody>
      </p:sp>
      <p:sp>
        <p:nvSpPr>
          <p:cNvPr id="6" name="AutoShape 5">
            <a:extLst>
              <a:ext uri="{FF2B5EF4-FFF2-40B4-BE49-F238E27FC236}">
                <a16:creationId xmlns:a16="http://schemas.microsoft.com/office/drawing/2014/main" id="{F0F1849A-D0FE-49D3-8E55-9FB14AE1CCCD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937530" y="1635800"/>
            <a:ext cx="788713" cy="2018212"/>
          </a:xfrm>
          <a:prstGeom prst="chevron">
            <a:avLst>
              <a:gd name="adj" fmla="val 25000"/>
            </a:avLst>
          </a:prstGeom>
          <a:solidFill>
            <a:schemeClr val="accent1">
              <a:lumMod val="60000"/>
              <a:lumOff val="4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rot="10800000" vert="eaVert" lIns="88900" tIns="88900" rIns="88900" bIns="889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prstClr val="white"/>
                </a:solidFill>
                <a:latin typeface="Arial"/>
                <a:ea typeface="ＭＳ Ｐゴシック" pitchFamily="50" charset="-128"/>
              </a:rPr>
              <a:t>Day-Ahead</a:t>
            </a:r>
            <a:endParaRPr lang="en-US" sz="1400" b="1" dirty="0">
              <a:solidFill>
                <a:prstClr val="white"/>
              </a:solidFill>
              <a:latin typeface="Arial"/>
              <a:ea typeface="ＭＳ Ｐゴシック" pitchFamily="50" charset="-128"/>
            </a:endParaRPr>
          </a:p>
        </p:txBody>
      </p:sp>
      <p:sp>
        <p:nvSpPr>
          <p:cNvPr id="7" name="AutoShape 6">
            <a:extLst>
              <a:ext uri="{FF2B5EF4-FFF2-40B4-BE49-F238E27FC236}">
                <a16:creationId xmlns:a16="http://schemas.microsoft.com/office/drawing/2014/main" id="{0B0B95F9-857B-4E01-94C1-BF9E55A7CE93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932157" y="2387158"/>
            <a:ext cx="799462" cy="2018212"/>
          </a:xfrm>
          <a:prstGeom prst="chevron">
            <a:avLst>
              <a:gd name="adj" fmla="val 25000"/>
            </a:avLst>
          </a:prstGeom>
          <a:solidFill>
            <a:schemeClr val="accent1">
              <a:lumMod val="75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rot="10800000" vert="eaVert" lIns="88900" tIns="88900" rIns="88900" bIns="889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prstClr val="white"/>
                </a:solidFill>
                <a:latin typeface="Arial"/>
                <a:ea typeface="ＭＳ Ｐゴシック" pitchFamily="50" charset="-128"/>
              </a:rPr>
              <a:t>Intra-Day</a:t>
            </a:r>
          </a:p>
        </p:txBody>
      </p:sp>
      <p:sp>
        <p:nvSpPr>
          <p:cNvPr id="8" name="AutoShape 6">
            <a:extLst>
              <a:ext uri="{FF2B5EF4-FFF2-40B4-BE49-F238E27FC236}">
                <a16:creationId xmlns:a16="http://schemas.microsoft.com/office/drawing/2014/main" id="{87F4AE7B-89DC-476C-BC84-531A07BF6FE4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909856" y="3202924"/>
            <a:ext cx="844063" cy="2018212"/>
          </a:xfrm>
          <a:prstGeom prst="chevron">
            <a:avLst>
              <a:gd name="adj" fmla="val 25000"/>
            </a:avLst>
          </a:prstGeom>
          <a:solidFill>
            <a:schemeClr val="accent1">
              <a:lumMod val="5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rot="10800000" vert="eaVert" lIns="88900" tIns="88900" rIns="88900" bIns="889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prstClr val="white"/>
                </a:solidFill>
                <a:latin typeface="Arial"/>
                <a:ea typeface="ＭＳ Ｐゴシック" pitchFamily="50" charset="-128"/>
              </a:rPr>
              <a:t>Balanc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7F314C7-D2B4-41C3-BB57-37D187518F8C}"/>
              </a:ext>
            </a:extLst>
          </p:cNvPr>
          <p:cNvSpPr/>
          <p:nvPr/>
        </p:nvSpPr>
        <p:spPr bwMode="gray">
          <a:xfrm>
            <a:off x="2814532" y="766117"/>
            <a:ext cx="1580004" cy="82426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 algn="ctr">
              <a:spcBef>
                <a:spcPts val="400"/>
              </a:spcBef>
            </a:pPr>
            <a:r>
              <a:rPr lang="en-US" sz="1050" b="0" dirty="0">
                <a:solidFill>
                  <a:prstClr val="white"/>
                </a:solidFill>
                <a:cs typeface="Arial" pitchFamily="34" charset="0"/>
              </a:rPr>
              <a:t>Year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4CC1C36-0119-4D34-B67E-73C6BA66F83B}"/>
              </a:ext>
            </a:extLst>
          </p:cNvPr>
          <p:cNvSpPr/>
          <p:nvPr/>
        </p:nvSpPr>
        <p:spPr bwMode="gray">
          <a:xfrm>
            <a:off x="2814532" y="2361063"/>
            <a:ext cx="1580004" cy="42137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 algn="ctr">
              <a:spcBef>
                <a:spcPts val="400"/>
              </a:spcBef>
            </a:pPr>
            <a:r>
              <a:rPr lang="en-GB" sz="1050" b="0" dirty="0">
                <a:solidFill>
                  <a:prstClr val="white"/>
                </a:solidFill>
                <a:cs typeface="Arial" pitchFamily="34" charset="0"/>
              </a:rPr>
              <a:t>Days</a:t>
            </a:r>
            <a:endParaRPr lang="en-US" sz="1050" b="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766858A-E9C1-49ED-A597-FE1807355DF3}"/>
              </a:ext>
            </a:extLst>
          </p:cNvPr>
          <p:cNvSpPr/>
          <p:nvPr/>
        </p:nvSpPr>
        <p:spPr bwMode="gray">
          <a:xfrm>
            <a:off x="2814532" y="2766642"/>
            <a:ext cx="1580004" cy="1073957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 algn="ctr">
              <a:spcBef>
                <a:spcPts val="400"/>
              </a:spcBef>
            </a:pPr>
            <a:r>
              <a:rPr lang="en-GB" sz="1050" b="0" dirty="0">
                <a:solidFill>
                  <a:prstClr val="white"/>
                </a:solidFill>
                <a:cs typeface="Arial" pitchFamily="34" charset="0"/>
              </a:rPr>
              <a:t>Hours</a:t>
            </a:r>
            <a:endParaRPr lang="en-US" sz="1050" b="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CECD04-7696-43DE-863B-48462C7BE92D}"/>
              </a:ext>
            </a:extLst>
          </p:cNvPr>
          <p:cNvSpPr/>
          <p:nvPr/>
        </p:nvSpPr>
        <p:spPr bwMode="gray">
          <a:xfrm>
            <a:off x="2814532" y="3795995"/>
            <a:ext cx="1580004" cy="351241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 algn="ctr">
              <a:spcBef>
                <a:spcPts val="400"/>
              </a:spcBef>
            </a:pPr>
            <a:r>
              <a:rPr lang="en-GB" sz="1050" b="0" dirty="0">
                <a:solidFill>
                  <a:prstClr val="white"/>
                </a:solidFill>
                <a:cs typeface="Arial" pitchFamily="34" charset="0"/>
              </a:rPr>
              <a:t>Minutes</a:t>
            </a:r>
            <a:endParaRPr lang="en-US" sz="1050" b="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28B5DBF-8C9F-40DB-A527-B99228FEFDC7}"/>
              </a:ext>
            </a:extLst>
          </p:cNvPr>
          <p:cNvSpPr/>
          <p:nvPr/>
        </p:nvSpPr>
        <p:spPr bwMode="gray">
          <a:xfrm>
            <a:off x="2814532" y="4147236"/>
            <a:ext cx="1580004" cy="301934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 algn="ctr">
              <a:spcBef>
                <a:spcPts val="400"/>
              </a:spcBef>
            </a:pPr>
            <a:r>
              <a:rPr lang="en-GB" sz="1050" b="0" dirty="0">
                <a:solidFill>
                  <a:prstClr val="white"/>
                </a:solidFill>
                <a:cs typeface="Arial" pitchFamily="34" charset="0"/>
              </a:rPr>
              <a:t>Seconds</a:t>
            </a:r>
            <a:endParaRPr lang="en-US" sz="1050" b="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C6C0E9E-6F4C-4CDD-B49B-F442BA3B010B}"/>
              </a:ext>
            </a:extLst>
          </p:cNvPr>
          <p:cNvSpPr/>
          <p:nvPr/>
        </p:nvSpPr>
        <p:spPr bwMode="gray">
          <a:xfrm>
            <a:off x="2814532" y="1590382"/>
            <a:ext cx="1580004" cy="77068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 algn="ctr">
              <a:spcBef>
                <a:spcPts val="400"/>
              </a:spcBef>
            </a:pPr>
            <a:r>
              <a:rPr lang="en-GB" sz="1050" b="0" dirty="0">
                <a:solidFill>
                  <a:prstClr val="white"/>
                </a:solidFill>
                <a:cs typeface="Arial" pitchFamily="34" charset="0"/>
              </a:rPr>
              <a:t>Seasons</a:t>
            </a:r>
          </a:p>
          <a:p>
            <a:pPr algn="ctr">
              <a:spcBef>
                <a:spcPts val="400"/>
              </a:spcBef>
            </a:pPr>
            <a:r>
              <a:rPr lang="en-GB" sz="1050" b="0" dirty="0">
                <a:solidFill>
                  <a:prstClr val="white"/>
                </a:solidFill>
                <a:cs typeface="Arial" pitchFamily="34" charset="0"/>
              </a:rPr>
              <a:t>Months</a:t>
            </a:r>
          </a:p>
          <a:p>
            <a:pPr algn="ctr">
              <a:spcBef>
                <a:spcPts val="400"/>
              </a:spcBef>
            </a:pPr>
            <a:r>
              <a:rPr lang="en-GB" sz="1050" b="0" dirty="0">
                <a:solidFill>
                  <a:prstClr val="white"/>
                </a:solidFill>
                <a:cs typeface="Arial" pitchFamily="34" charset="0"/>
              </a:rPr>
              <a:t>Week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F2BA97F-6475-460F-8C18-17B47ACBE601}"/>
              </a:ext>
            </a:extLst>
          </p:cNvPr>
          <p:cNvSpPr txBox="1"/>
          <p:nvPr/>
        </p:nvSpPr>
        <p:spPr bwMode="auto">
          <a:xfrm>
            <a:off x="4571465" y="787400"/>
            <a:ext cx="4100286" cy="3354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600"/>
              </a:spcAft>
              <a:buClr>
                <a:schemeClr val="tx1"/>
              </a:buClr>
            </a:pPr>
            <a:r>
              <a:rPr lang="en-GB" sz="900" kern="0" dirty="0">
                <a:solidFill>
                  <a:schemeClr val="tx1"/>
                </a:solidFill>
                <a:latin typeface="+mn-lt"/>
                <a:ea typeface="+mn-ea"/>
              </a:rPr>
              <a:t>Capacity Markets</a:t>
            </a:r>
            <a:r>
              <a:rPr lang="en-GB" sz="900" dirty="0">
                <a:solidFill>
                  <a:schemeClr val="tx1"/>
                </a:solidFill>
              </a:rPr>
              <a:t> </a:t>
            </a:r>
            <a:r>
              <a:rPr lang="en-GB" sz="900" b="0" dirty="0">
                <a:solidFill>
                  <a:schemeClr val="tx1"/>
                </a:solidFill>
              </a:rPr>
              <a:t>g</a:t>
            </a:r>
            <a:r>
              <a:rPr lang="en-GB" sz="900" b="0" kern="0" dirty="0">
                <a:solidFill>
                  <a:schemeClr val="tx1"/>
                </a:solidFill>
                <a:latin typeface="+mn-lt"/>
                <a:ea typeface="+mn-ea"/>
              </a:rPr>
              <a:t>uarantee that generation will be available in future to meet demand, main auction is 4 years out and can award contracts up to 15 years.</a:t>
            </a:r>
          </a:p>
          <a:p>
            <a:endParaRPr lang="en-GB" sz="800" b="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chemeClr val="tx1"/>
                </a:solidFill>
              </a:rPr>
              <a:t>Forwards</a:t>
            </a:r>
            <a:r>
              <a:rPr lang="en-GB" sz="900" b="0" dirty="0">
                <a:solidFill>
                  <a:schemeClr val="tx1"/>
                </a:solidFill>
              </a:rPr>
              <a:t> are used to hedge against volatility in the market by locking in prices ahead of tim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kern="0" dirty="0">
                <a:solidFill>
                  <a:schemeClr val="tx1"/>
                </a:solidFill>
                <a:latin typeface="+mn-lt"/>
                <a:ea typeface="+mn-ea"/>
              </a:rPr>
              <a:t>Contracts for Difference </a:t>
            </a:r>
            <a:r>
              <a:rPr lang="en-GB" sz="800" b="0" kern="0" dirty="0">
                <a:solidFill>
                  <a:schemeClr val="tx1"/>
                </a:solidFill>
                <a:latin typeface="+mn-lt"/>
                <a:ea typeface="+mn-ea"/>
              </a:rPr>
              <a:t>are agreements to sell for </a:t>
            </a:r>
            <a:r>
              <a:rPr lang="en-GB" sz="800" b="0" dirty="0">
                <a:solidFill>
                  <a:schemeClr val="tx1"/>
                </a:solidFill>
              </a:rPr>
              <a:t>a fixed (strike) price, with the balance being set based on an index and the difference from the strike price refund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kern="0" dirty="0">
                <a:solidFill>
                  <a:schemeClr val="tx1"/>
                </a:solidFill>
                <a:latin typeface="+mn-lt"/>
                <a:ea typeface="+mn-ea"/>
              </a:rPr>
              <a:t>Power Purchase Agreements </a:t>
            </a:r>
            <a:r>
              <a:rPr lang="en-GB" sz="800" b="0" kern="0" dirty="0">
                <a:solidFill>
                  <a:schemeClr val="tx1"/>
                </a:solidFill>
                <a:latin typeface="+mn-lt"/>
                <a:ea typeface="+mn-ea"/>
              </a:rPr>
              <a:t>are long term offtake agreements defining prices, volumes, time periods and penalties for non-compliance.</a:t>
            </a:r>
          </a:p>
          <a:p>
            <a:pPr algn="l">
              <a:spcAft>
                <a:spcPts val="600"/>
              </a:spcAft>
              <a:buClr>
                <a:schemeClr val="tx1"/>
              </a:buClr>
            </a:pPr>
            <a:endParaRPr lang="en-GB" sz="900" b="0" dirty="0">
              <a:solidFill>
                <a:schemeClr val="tx1"/>
              </a:solidFill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</a:pPr>
            <a:r>
              <a:rPr lang="en-GB" sz="900" dirty="0">
                <a:solidFill>
                  <a:schemeClr val="tx1"/>
                </a:solidFill>
              </a:rPr>
              <a:t>D</a:t>
            </a:r>
            <a:r>
              <a:rPr lang="en-US" sz="900" dirty="0">
                <a:solidFill>
                  <a:schemeClr val="tx1"/>
                </a:solidFill>
              </a:rPr>
              <a:t>ay-Ahead Market</a:t>
            </a:r>
            <a:r>
              <a:rPr lang="en-US" sz="900" b="0" dirty="0">
                <a:solidFill>
                  <a:schemeClr val="tx1"/>
                </a:solidFill>
              </a:rPr>
              <a:t>: Wholesale power has one exclusive route to market in Europe and that is through the DAM.</a:t>
            </a:r>
            <a:endParaRPr lang="en-GB" sz="1000" b="0" kern="0" dirty="0">
              <a:solidFill>
                <a:schemeClr val="tx1"/>
              </a:solidFill>
              <a:latin typeface="+mn-lt"/>
              <a:ea typeface="+mn-ea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</a:pPr>
            <a:endParaRPr lang="en-GB" sz="1000" b="0" dirty="0">
              <a:solidFill>
                <a:schemeClr val="tx1"/>
              </a:solidFill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</a:pPr>
            <a:r>
              <a:rPr lang="en-GB" sz="900" dirty="0">
                <a:solidFill>
                  <a:schemeClr val="tx1"/>
                </a:solidFill>
              </a:rPr>
              <a:t>I</a:t>
            </a:r>
            <a:r>
              <a:rPr lang="en-US" sz="900" dirty="0" err="1">
                <a:solidFill>
                  <a:schemeClr val="tx1"/>
                </a:solidFill>
              </a:rPr>
              <a:t>ntra</a:t>
            </a:r>
            <a:r>
              <a:rPr lang="en-US" sz="900" dirty="0">
                <a:solidFill>
                  <a:schemeClr val="tx1"/>
                </a:solidFill>
              </a:rPr>
              <a:t>-Day</a:t>
            </a:r>
            <a:r>
              <a:rPr lang="en-US" sz="900" b="0" dirty="0">
                <a:solidFill>
                  <a:schemeClr val="tx1"/>
                </a:solidFill>
              </a:rPr>
              <a:t>: Three 8h auctions used to refine positions taken in the DAM based on new information, weather forecasts, plant trips, and demand shocks.</a:t>
            </a:r>
          </a:p>
          <a:p>
            <a:pPr algn="l">
              <a:spcAft>
                <a:spcPts val="600"/>
              </a:spcAft>
              <a:buClr>
                <a:schemeClr val="tx1"/>
              </a:buClr>
            </a:pPr>
            <a:endParaRPr lang="en-GB" sz="1000" b="0" kern="0" dirty="0">
              <a:solidFill>
                <a:schemeClr val="tx1"/>
              </a:solidFill>
              <a:latin typeface="+mn-lt"/>
              <a:ea typeface="+mn-ea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</a:pPr>
            <a:r>
              <a:rPr lang="en-GB" sz="900" dirty="0">
                <a:solidFill>
                  <a:schemeClr val="tx1"/>
                </a:solidFill>
              </a:rPr>
              <a:t>Balancing Mechanism</a:t>
            </a:r>
            <a:r>
              <a:rPr lang="en-GB" sz="900" b="0" dirty="0">
                <a:solidFill>
                  <a:schemeClr val="tx1"/>
                </a:solidFill>
              </a:rPr>
              <a:t>: Each country has a unique mechanism depending on their legacy generation mix, the aim of which is to balance supply and demand on a minute by minute basis.</a:t>
            </a:r>
            <a:endParaRPr lang="en-GB" sz="900" b="0" kern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7128452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CC9350-0901-4A95-8BAC-ECA0AE4FFE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2713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1" imgW="270" imgH="270" progId="TCLayout.ActiveDocument.1">
                  <p:embed/>
                </p:oleObj>
              </mc:Choice>
              <mc:Fallback>
                <p:oleObj name="think-cell Slide" r:id="rId41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CC9350-0901-4A95-8BAC-ECA0AE4FFE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 hidden="1">
            <a:extLst>
              <a:ext uri="{FF2B5EF4-FFF2-40B4-BE49-F238E27FC236}">
                <a16:creationId xmlns:a16="http://schemas.microsoft.com/office/drawing/2014/main" id="{37277D94-E9BD-492E-B094-57E5DA67F0C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450"/>
              </a:spcAft>
            </a:pPr>
            <a:endParaRPr lang="en-US" sz="1000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8D62F20-C5D4-4D68-AB44-C99C83915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759" y="179243"/>
            <a:ext cx="8497370" cy="430887"/>
          </a:xfrm>
        </p:spPr>
        <p:txBody>
          <a:bodyPr vert="horz"/>
          <a:lstStyle/>
          <a:p>
            <a:r>
              <a:rPr lang="en-GB" sz="2000" b="0" dirty="0"/>
              <a:t>Gas remains the key price driver in GB as growth of RES continue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FEC2913-F3D8-4024-8618-45DF8EA36737}"/>
              </a:ext>
            </a:extLst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542925" y="827088"/>
            <a:ext cx="2505075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5080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r>
              <a:rPr lang="en-GB" sz="1000" b="1" dirty="0">
                <a:cs typeface="+mn-cs"/>
                <a:sym typeface="+mn-lt"/>
              </a:rPr>
              <a:t>G</a:t>
            </a:r>
            <a:r>
              <a:rPr lang="en-US" sz="1000" b="1" dirty="0">
                <a:cs typeface="+mn-cs"/>
                <a:sym typeface="+mn-lt"/>
              </a:rPr>
              <a:t>B Capacity Outlook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7632584-0855-4ACD-86B7-930E393E9373}"/>
              </a:ext>
            </a:extLst>
          </p:cNvPr>
          <p:cNvSpPr txBox="1"/>
          <p:nvPr/>
        </p:nvSpPr>
        <p:spPr bwMode="auto">
          <a:xfrm>
            <a:off x="5710507" y="631091"/>
            <a:ext cx="3217334" cy="961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accent1"/>
              </a:buClr>
            </a:pPr>
            <a:r>
              <a:rPr lang="en-GB" sz="1000" dirty="0"/>
              <a:t>Strong </a:t>
            </a:r>
            <a:r>
              <a:rPr lang="en-US" sz="1000" dirty="0"/>
              <a:t>wind growth expected</a:t>
            </a:r>
          </a:p>
          <a:p>
            <a:pPr marL="171450" indent="-17145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900" b="0" dirty="0"/>
              <a:t>Increased </a:t>
            </a:r>
            <a:r>
              <a:rPr lang="en-US" sz="900" b="0" dirty="0"/>
              <a:t>government ambition leading to large growth in </a:t>
            </a:r>
            <a:r>
              <a:rPr lang="en-US" sz="900" dirty="0"/>
              <a:t>offshore</a:t>
            </a:r>
            <a:r>
              <a:rPr lang="en-US" sz="900" b="0" dirty="0"/>
              <a:t> wind </a:t>
            </a:r>
            <a:r>
              <a:rPr lang="en-US" sz="900" b="0"/>
              <a:t>– The UK hitting the 30GW target by 2030 will be difficult.</a:t>
            </a:r>
          </a:p>
          <a:p>
            <a:pPr marL="171450" indent="-17145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900" b="0" dirty="0"/>
              <a:t>UK government lifted ban on subsidies for new </a:t>
            </a:r>
            <a:r>
              <a:rPr lang="en-GB" sz="900" dirty="0"/>
              <a:t>onshore </a:t>
            </a:r>
            <a:r>
              <a:rPr lang="en-GB" sz="900" b="0" dirty="0"/>
              <a:t>wind farms</a:t>
            </a:r>
            <a:r>
              <a:rPr lang="en-GB" sz="800" b="0" dirty="0"/>
              <a:t>.</a:t>
            </a:r>
            <a:endParaRPr lang="en-US" sz="800" b="0" dirty="0"/>
          </a:p>
        </p:txBody>
      </p:sp>
      <p:pic>
        <p:nvPicPr>
          <p:cNvPr id="35" name="icn-28.pdf" descr="icn-28.pdf">
            <a:extLst>
              <a:ext uri="{FF2B5EF4-FFF2-40B4-BE49-F238E27FC236}">
                <a16:creationId xmlns:a16="http://schemas.microsoft.com/office/drawing/2014/main" id="{353E9366-060E-4F93-8072-7A5CA846E263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4924425" y="494004"/>
            <a:ext cx="786082" cy="786082"/>
          </a:xfrm>
          <a:prstGeom prst="rect">
            <a:avLst/>
          </a:prstGeom>
          <a:ln w="12700">
            <a:miter lim="400000"/>
          </a:ln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6FF263BF-0394-4AB0-811E-5E6A529C4435}"/>
              </a:ext>
            </a:extLst>
          </p:cNvPr>
          <p:cNvPicPr>
            <a:picLocks noChangeAspect="1"/>
          </p:cNvPicPr>
          <p:nvPr/>
        </p:nvPicPr>
        <p:blipFill>
          <a:blip r:embed="rId4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059483" y="1566827"/>
            <a:ext cx="470409" cy="482079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7D9E3F98-1F1C-41A9-8E2A-9B6B69136750}"/>
              </a:ext>
            </a:extLst>
          </p:cNvPr>
          <p:cNvSpPr txBox="1"/>
          <p:nvPr/>
        </p:nvSpPr>
        <p:spPr bwMode="auto">
          <a:xfrm>
            <a:off x="5709248" y="1697884"/>
            <a:ext cx="3105881" cy="961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1000" dirty="0"/>
              <a:t>Nuclear growth uncertainty</a:t>
            </a:r>
          </a:p>
          <a:p>
            <a:pPr marL="171450" indent="-17145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b="0" dirty="0"/>
              <a:t>Financing problems of new plants and uncertainty around when older nuclear plants will close</a:t>
            </a:r>
          </a:p>
          <a:p>
            <a:pPr marL="171450" indent="-17145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b="0" dirty="0"/>
              <a:t>Declines in nuclear output across Europe as countries ramp up their renewable generation to meet EU RES targets.</a:t>
            </a:r>
          </a:p>
        </p:txBody>
      </p:sp>
      <p:graphicFrame>
        <p:nvGraphicFramePr>
          <p:cNvPr id="168" name="Chart 167">
            <a:extLst>
              <a:ext uri="{FF2B5EF4-FFF2-40B4-BE49-F238E27FC236}">
                <a16:creationId xmlns:a16="http://schemas.microsoft.com/office/drawing/2014/main" id="{5F26D0B1-F85A-44D2-8984-731BEDA8DF4A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21096501"/>
              </p:ext>
            </p:extLst>
          </p:nvPr>
        </p:nvGraphicFramePr>
        <p:xfrm>
          <a:off x="82550" y="939800"/>
          <a:ext cx="3048000" cy="2865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68" name="Rectangle 67">
            <a:extLst>
              <a:ext uri="{FF2B5EF4-FFF2-40B4-BE49-F238E27FC236}">
                <a16:creationId xmlns:a16="http://schemas.microsoft.com/office/drawing/2014/main" id="{BE829645-CDA3-4C14-8D8F-7FCA03BE753F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974725" y="3757613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77813" indent="-277813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Arial" charset="0"/>
              <a:buChar char="•"/>
              <a:tabLst/>
              <a:defRPr sz="18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55566" indent="-261912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6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626999" indent="-271436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6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896850" indent="-26984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4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1074632" indent="-177784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349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6pPr>
            <a:lvl7pPr marL="2971504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7pPr>
            <a:lvl8pPr marL="3428658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8pPr>
            <a:lvl9pPr marL="3885814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Aft>
                <a:spcPct val="0"/>
              </a:spcAft>
              <a:buNone/>
            </a:pPr>
            <a:fld id="{B0BE3032-CDBA-47DC-89B2-FBF804EA51E2}" type="datetime'''''''''2''''0''''''''''''''1''''''''2'''''''''''''''''''''">
              <a:rPr lang="en-US" altLang="en-US" sz="1000" b="0" smtClean="0">
                <a:latin typeface="+mn-lt"/>
                <a:ea typeface="+mn-ea"/>
                <a:cs typeface="+mn-cs"/>
                <a:sym typeface="+mn-lt"/>
              </a:rPr>
              <a:pPr/>
              <a:t>2012</a:t>
            </a:fld>
            <a:endParaRPr lang="en-GB" sz="1000" b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C8E444F-6A7C-4682-8C73-1B5C3FBDBE67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369888" y="792163"/>
            <a:ext cx="2190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r>
              <a:rPr lang="en-US" altLang="en-US" sz="1000">
                <a:cs typeface="+mn-cs"/>
                <a:sym typeface="+mn-lt"/>
              </a:rPr>
              <a:t>GW</a:t>
            </a:r>
            <a:endParaRPr lang="en-US" sz="1000">
              <a:cs typeface="+mn-cs"/>
              <a:sym typeface="+mn-lt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981D8FD-EFF1-4089-9CCF-8D399550F7E1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282825" y="1563688"/>
            <a:ext cx="244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marL="277813" indent="-277813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Arial" charset="0"/>
              <a:buChar char="•"/>
              <a:tabLst/>
              <a:defRPr sz="18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55566" indent="-261912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6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626999" indent="-271436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6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896850" indent="-26984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4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1074632" indent="-177784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349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6pPr>
            <a:lvl7pPr marL="2971504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7pPr>
            <a:lvl8pPr marL="3428658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8pPr>
            <a:lvl9pPr marL="3885814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Aft>
                <a:spcPct val="0"/>
              </a:spcAft>
              <a:buNone/>
            </a:pPr>
            <a:fld id="{262F55B1-56AA-49FD-A493-7C7F426CE2FA}" type="datetime'''''''''''''''''''''''''''''''''''''1''''''''1''''''''0'''''''">
              <a:rPr lang="en-US" altLang="en-US" sz="1000" b="0" smtClean="0">
                <a:latin typeface="+mn-lt"/>
                <a:ea typeface="+mn-ea"/>
                <a:cs typeface="+mn-cs"/>
                <a:sym typeface="+mn-lt"/>
              </a:rPr>
              <a:pPr/>
              <a:t>110</a:t>
            </a:fld>
            <a:endParaRPr lang="en-GB" sz="1000" b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A5CCCED-EC35-4484-8230-938E5B72FBAE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998538" y="1746250"/>
            <a:ext cx="244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marL="277813" indent="-277813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Arial" charset="0"/>
              <a:buChar char="•"/>
              <a:tabLst/>
              <a:defRPr sz="18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55566" indent="-261912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6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626999" indent="-271436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6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896850" indent="-26984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4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1074632" indent="-177784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349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6pPr>
            <a:lvl7pPr marL="2971504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7pPr>
            <a:lvl8pPr marL="3428658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8pPr>
            <a:lvl9pPr marL="3885814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Aft>
                <a:spcPct val="0"/>
              </a:spcAft>
              <a:buNone/>
            </a:pPr>
            <a:fld id="{5F4398E3-402F-480B-9862-65158BACD8CB}" type="datetime'1''''''''''''''''''''''00'''''''''''''''''''">
              <a:rPr lang="en-US" altLang="en-US" sz="1000" b="0" smtClean="0">
                <a:latin typeface="+mn-lt"/>
                <a:ea typeface="+mn-ea"/>
                <a:cs typeface="+mn-cs"/>
                <a:sym typeface="+mn-lt"/>
              </a:rPr>
              <a:pPr/>
              <a:t>100</a:t>
            </a:fld>
            <a:endParaRPr lang="en-GB" sz="1000" b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E7F68686-57DD-4DA1-B00A-54031CC944B6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2259013" y="3757613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77813" indent="-277813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Arial" charset="0"/>
              <a:buChar char="•"/>
              <a:tabLst/>
              <a:defRPr sz="18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55566" indent="-261912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6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626999" indent="-271436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6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896850" indent="-26984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4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1074632" indent="-177784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349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6pPr>
            <a:lvl7pPr marL="2971504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7pPr>
            <a:lvl8pPr marL="3428658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8pPr>
            <a:lvl9pPr marL="3885814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Aft>
                <a:spcPct val="0"/>
              </a:spcAft>
              <a:buNone/>
            </a:pPr>
            <a:fld id="{5A3CFE61-5641-464D-8D7D-CB448ED43773}" type="datetime'''''''''''''''''''''''2''''0''''''''''''''''''''2''''''0'">
              <a:rPr lang="en-US" altLang="en-US" sz="1000" b="0" smtClean="0">
                <a:latin typeface="+mn-lt"/>
                <a:ea typeface="+mn-ea"/>
                <a:cs typeface="+mn-cs"/>
                <a:sym typeface="+mn-lt"/>
              </a:rPr>
              <a:pPr/>
              <a:t>2020</a:t>
            </a:fld>
            <a:endParaRPr lang="en-GB" sz="1000" b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4366D557-6D4B-4569-8B2E-5B701C835CAA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520700" y="4184650"/>
            <a:ext cx="142875" cy="106363"/>
          </a:xfrm>
          <a:prstGeom prst="rect">
            <a:avLst/>
          </a:prstGeom>
          <a:pattFill prst="ltDnDiag">
            <a:fgClr>
              <a:schemeClr val="tx1"/>
            </a:fgClr>
            <a:bgClr>
              <a:schemeClr val="bg1"/>
            </a:bgClr>
          </a:pattFill>
          <a:ln w="9525" cap="flat" cmpd="sng" algn="ctr">
            <a:solidFill>
              <a:srgbClr val="DFE5E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3FFE9001-F1C6-4B0C-A4B2-1BD658FF89F6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1516063" y="4357688"/>
            <a:ext cx="142875" cy="106363"/>
          </a:xfrm>
          <a:prstGeom prst="rect">
            <a:avLst/>
          </a:prstGeom>
          <a:solidFill>
            <a:srgbClr val="7DF22F"/>
          </a:solidFill>
          <a:ln w="9525" cap="flat" cmpd="sng" algn="ctr">
            <a:solidFill>
              <a:srgbClr val="7DF22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C5DA1DDB-2442-4305-A7CB-F4399D5F461C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534988" y="4064000"/>
            <a:ext cx="114300" cy="0"/>
          </a:xfrm>
          <a:prstGeom prst="line">
            <a:avLst/>
          </a:prstGeom>
          <a:solidFill>
            <a:schemeClr val="accent1"/>
          </a:solidFill>
          <a:ln w="28575" cap="rnd" cmpd="sng" algn="ctr">
            <a:solidFill>
              <a:srgbClr val="CD010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0BF5B852-A0A6-4BD1-B0CB-0E4F804A4F64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20700" y="4357688"/>
            <a:ext cx="142875" cy="106363"/>
          </a:xfrm>
          <a:prstGeom prst="rect">
            <a:avLst/>
          </a:prstGeom>
          <a:solidFill>
            <a:srgbClr val="0AA6F1"/>
          </a:solidFill>
          <a:ln w="9525" cap="flat" cmpd="sng" algn="ctr">
            <a:solidFill>
              <a:srgbClr val="0AA6F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7F37559-47B6-4685-913A-60EE1DBE241C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516063" y="4011613"/>
            <a:ext cx="142875" cy="106363"/>
          </a:xfrm>
          <a:prstGeom prst="rect">
            <a:avLst/>
          </a:prstGeom>
          <a:solidFill>
            <a:srgbClr val="010965"/>
          </a:solidFill>
          <a:ln w="9525" cap="flat" cmpd="sng" algn="ctr">
            <a:solidFill>
              <a:srgbClr val="01096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24454E15-7015-40ED-925E-8695E621A275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516063" y="4184650"/>
            <a:ext cx="142875" cy="106363"/>
          </a:xfrm>
          <a:prstGeom prst="rect">
            <a:avLst/>
          </a:prstGeom>
          <a:solidFill>
            <a:srgbClr val="BAF991"/>
          </a:solidFill>
          <a:ln w="9525" cap="flat" cmpd="sng" algn="ctr">
            <a:solidFill>
              <a:srgbClr val="BAF99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624CE294-0B70-423F-8CEC-BE51F7F8F124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2463800" y="4011613"/>
            <a:ext cx="142875" cy="106363"/>
          </a:xfrm>
          <a:prstGeom prst="rect">
            <a:avLst/>
          </a:prstGeom>
          <a:solidFill>
            <a:srgbClr val="187601"/>
          </a:solidFill>
          <a:ln w="9525" cap="flat" cmpd="sng" algn="ctr">
            <a:solidFill>
              <a:srgbClr val="18760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6334B380-BA97-44F3-B921-22F91C7C840F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2463800" y="4357688"/>
            <a:ext cx="142875" cy="10636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F5A4CAD6-3044-424E-BD2F-7562DEFC7ED8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2463800" y="4184650"/>
            <a:ext cx="142875" cy="106363"/>
          </a:xfrm>
          <a:prstGeom prst="rect">
            <a:avLst/>
          </a:prstGeom>
          <a:solidFill>
            <a:srgbClr val="C71FAD"/>
          </a:solidFill>
          <a:ln w="9525" cap="flat" cmpd="sng" algn="ctr">
            <a:solidFill>
              <a:srgbClr val="C71FA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2B1D69BD-D79D-4974-9B51-18F78430EB85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3411538" y="4184650"/>
            <a:ext cx="142875" cy="106363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CA97752-0763-4D74-A441-21D79AAE2732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3411538" y="4011613"/>
            <a:ext cx="142875" cy="106363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rgbClr val="9DB1C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7A43659C-132D-4A77-8EFA-B3AC6E9EE30D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3411538" y="4357688"/>
            <a:ext cx="142875" cy="106363"/>
          </a:xfrm>
          <a:prstGeom prst="rect">
            <a:avLst/>
          </a:prstGeom>
          <a:solidFill>
            <a:srgbClr val="969696"/>
          </a:solidFill>
          <a:ln w="9525" cap="flat" cmpd="sng" algn="ctr">
            <a:solidFill>
              <a:srgbClr val="96969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EBC29B44-0FB0-4561-AE7A-6AE5DBBCC64F}"/>
              </a:ext>
            </a:extLst>
          </p:cNvPr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714375" y="4006850"/>
            <a:ext cx="6477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74A4FFC1-4D91-4ED1-B891-120DFCE4E853}" type="datetime'P''''e''''a''''''''''''''k ''''''D''ema''''''''n''''''''''d'">
              <a:rPr lang="en-US" altLang="en-US" sz="800" smtClean="0">
                <a:cs typeface="+mn-cs"/>
              </a:rPr>
              <a:pPr/>
              <a:t>Peak Demand</a:t>
            </a:fld>
            <a:endParaRPr lang="en-US" sz="800">
              <a:cs typeface="+mn-cs"/>
              <a:sym typeface="+mn-lt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CFE868C7-936A-4EB3-8A4C-32FBD89433BB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2657475" y="4006850"/>
            <a:ext cx="65246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96FFFEFB-620E-4492-8773-BE8BE79EBBC6}" type="datetime'''O''''ff''''s''hor''e'' ''''''''Win''''d'''">
              <a:rPr lang="en-US" altLang="en-US" sz="800" smtClean="0">
                <a:cs typeface="+mn-cs"/>
              </a:rPr>
              <a:pPr/>
              <a:t>Offshore Wind</a:t>
            </a:fld>
            <a:endParaRPr lang="en-US" sz="800">
              <a:cs typeface="+mn-cs"/>
              <a:sym typeface="+mn-lt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4F6CDE90-B5C4-49E6-9BEA-6E77CBCE7183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1709738" y="4006850"/>
            <a:ext cx="36988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41C2F9F5-6617-4A5F-8DF0-964309962D5B}" type="datetime'Pea''''''''''''''''''''''k''''''''''''''''''''''''in''g'''''">
              <a:rPr lang="en-US" altLang="en-US" sz="800" smtClean="0">
                <a:cs typeface="+mn-cs"/>
              </a:rPr>
              <a:pPr/>
              <a:t>Peaking</a:t>
            </a:fld>
            <a:endParaRPr lang="en-US" sz="800">
              <a:cs typeface="+mn-cs"/>
              <a:sym typeface="+mn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ECAD2CCE-96EF-4F83-A4EA-26BA967C7DC5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714375" y="4179888"/>
            <a:ext cx="70008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9DC249A9-AAAE-43C6-9CFD-BC7EE8F13DFB}" type="datetime'I''''n''t''''''''e''''''''''rco''nnec''''''ti''on'''''''''''''">
              <a:rPr lang="en-US" altLang="en-US" sz="800" smtClean="0">
                <a:cs typeface="+mn-cs"/>
              </a:rPr>
              <a:pPr/>
              <a:t>Interconnection</a:t>
            </a:fld>
            <a:endParaRPr lang="en-US" sz="800">
              <a:cs typeface="+mn-cs"/>
              <a:sym typeface="+mn-lt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279FAC7-DDE3-4F27-883A-5AC6DE056414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714375" y="4352925"/>
            <a:ext cx="21431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628F54C5-4C59-4338-BB6D-87BB1A999DC3}" type="datetime'''''''D''''''''''''S''''R'''''''''''''''">
              <a:rPr lang="en-US" altLang="en-US" sz="800" smtClean="0">
                <a:cs typeface="+mn-cs"/>
              </a:rPr>
              <a:pPr/>
              <a:t>DSR</a:t>
            </a:fld>
            <a:endParaRPr lang="en-US" sz="800">
              <a:cs typeface="+mn-cs"/>
              <a:sym typeface="+mn-lt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744696FD-B094-4ED2-8DC1-47BCF513CC44}"/>
              </a:ext>
            </a:extLst>
          </p:cNvPr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1709738" y="4179888"/>
            <a:ext cx="2381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44F00565-F1C0-45F4-B203-ECBDEBF643FD}" type="datetime'''''''''''''So''''''''''''''''''''''la''''''''''r'">
              <a:rPr lang="en-US" altLang="en-US" sz="800" smtClean="0">
                <a:cs typeface="+mn-cs"/>
              </a:rPr>
              <a:pPr/>
              <a:t>Solar</a:t>
            </a:fld>
            <a:endParaRPr lang="en-US" sz="800">
              <a:cs typeface="+mn-cs"/>
              <a:sym typeface="+mn-lt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96FFB2FF-4A02-4E19-953E-0A624408EB95}"/>
              </a:ext>
            </a:extLst>
          </p:cNvPr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3605213" y="4006850"/>
            <a:ext cx="27146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630BC139-58E0-4E65-AAC4-D6F379F52675}" type="datetime'''H''''''''''''''''y''''''d''''''''''''r''''''''''''''''''o'">
              <a:rPr lang="en-US" altLang="en-US" sz="800" smtClean="0">
                <a:cs typeface="+mn-cs"/>
              </a:rPr>
              <a:pPr/>
              <a:t>Hydro</a:t>
            </a:fld>
            <a:endParaRPr lang="en-US" sz="800">
              <a:cs typeface="+mn-cs"/>
              <a:sym typeface="+mn-lt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4CA161A2-7FEB-4C08-B8C2-296C2D9CFFB8}"/>
              </a:ext>
            </a:extLst>
          </p:cNvPr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1709738" y="4352925"/>
            <a:ext cx="65246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2A175BC1-C2DB-4F89-915B-1DA223CD0C88}" type="datetime'On''''''sho''''r''''''e ''''''''W''''i''''n''''''''d'''''''''">
              <a:rPr lang="en-US" altLang="en-US" sz="800" smtClean="0">
                <a:cs typeface="+mn-cs"/>
              </a:rPr>
              <a:pPr/>
              <a:t>Onshore Wind</a:t>
            </a:fld>
            <a:endParaRPr lang="en-US" sz="800">
              <a:cs typeface="+mn-cs"/>
              <a:sym typeface="+mn-lt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0973E4DD-25A8-4402-A2AF-83DDEAC07FFE}"/>
              </a:ext>
            </a:extLst>
          </p:cNvPr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2657475" y="4179888"/>
            <a:ext cx="3508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7F9A7082-2A36-443D-9809-B48788A483ED}" type="datetime'N''''''''u''cl''''''''''''''''''''''e''''''a''''r'">
              <a:rPr lang="en-US" altLang="en-US" sz="800" smtClean="0">
                <a:cs typeface="+mn-cs"/>
              </a:rPr>
              <a:pPr/>
              <a:t>Nuclear</a:t>
            </a:fld>
            <a:endParaRPr lang="en-US" sz="800">
              <a:cs typeface="+mn-cs"/>
              <a:sym typeface="+mn-lt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3651202E-5D0C-497C-A352-1923AA54AB15}"/>
              </a:ext>
            </a:extLst>
          </p:cNvPr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2657475" y="4352925"/>
            <a:ext cx="3905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139DA1E4-2866-47AA-A4F1-1CF856AAD387}" type="datetime'B''''''''''''i''''''o''''m''a''''ss'">
              <a:rPr lang="en-US" altLang="en-US" sz="800" smtClean="0">
                <a:cs typeface="+mn-cs"/>
              </a:rPr>
              <a:pPr/>
              <a:t>Biomass</a:t>
            </a:fld>
            <a:endParaRPr lang="en-US" sz="800">
              <a:cs typeface="+mn-cs"/>
              <a:sym typeface="+mn-lt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10ED8FA3-8C54-4127-8316-7DF9AF1443BE}"/>
              </a:ext>
            </a:extLst>
          </p:cNvPr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3605213" y="4179888"/>
            <a:ext cx="209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6146CD57-830E-4E5B-B7C6-013C19787DBA}" type="datetime'C''''''''''''''''''o''''''''''''''''''''''''''''a''''''l'''">
              <a:rPr lang="en-US" altLang="en-US" sz="800" smtClean="0">
                <a:cs typeface="+mn-cs"/>
              </a:rPr>
              <a:pPr/>
              <a:t>Coal</a:t>
            </a:fld>
            <a:endParaRPr lang="en-US" sz="800">
              <a:cs typeface="+mn-cs"/>
              <a:sym typeface="+mn-lt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79D632AF-F5E6-4744-8D0C-9078F4445C5B}"/>
              </a:ext>
            </a:extLst>
          </p:cNvPr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3605213" y="4352925"/>
            <a:ext cx="1873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9048DAD2-491F-4EAB-8F28-F4F23CDDF07F}" type="datetime'''''''''''''''G''''''''''''''''''''a''''''''''''s'''''">
              <a:rPr lang="en-US" altLang="en-US" sz="800" smtClean="0">
                <a:cs typeface="+mn-cs"/>
              </a:rPr>
              <a:pPr/>
              <a:t>Gas</a:t>
            </a:fld>
            <a:endParaRPr lang="en-US" sz="800">
              <a:cs typeface="+mn-cs"/>
              <a:sym typeface="+mn-lt"/>
            </a:endParaRPr>
          </a:p>
        </p:txBody>
      </p:sp>
      <p:graphicFrame>
        <p:nvGraphicFramePr>
          <p:cNvPr id="173" name="Chart 172">
            <a:extLst>
              <a:ext uri="{FF2B5EF4-FFF2-40B4-BE49-F238E27FC236}">
                <a16:creationId xmlns:a16="http://schemas.microsoft.com/office/drawing/2014/main" id="{888A6546-AE39-4A09-ADC2-4D67ADE0CBBF}"/>
              </a:ext>
            </a:extLst>
          </p:cNvPr>
          <p:cNvGraphicFramePr/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513172658"/>
              </p:ext>
            </p:extLst>
          </p:nvPr>
        </p:nvGraphicFramePr>
        <p:xfrm>
          <a:off x="3160713" y="939800"/>
          <a:ext cx="1763712" cy="2865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117" name="Rectangle 116">
            <a:extLst>
              <a:ext uri="{FF2B5EF4-FFF2-40B4-BE49-F238E27FC236}">
                <a16:creationId xmlns:a16="http://schemas.microsoft.com/office/drawing/2014/main" id="{6BC25964-2146-483C-BA06-3FAA4424961A}"/>
              </a:ext>
            </a:extLst>
          </p:cNvPr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3413125" y="728663"/>
            <a:ext cx="2889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r>
              <a:rPr lang="en-US" altLang="en-US" sz="1000" dirty="0">
                <a:cs typeface="+mn-cs"/>
                <a:sym typeface="+mn-lt"/>
              </a:rPr>
              <a:t>GWh</a:t>
            </a:r>
            <a:endParaRPr lang="en-US" sz="1000" dirty="0">
              <a:cs typeface="+mn-cs"/>
              <a:sym typeface="+mn-lt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FA4CA56A-8FD3-4AAA-BEF9-111F31F6F802}"/>
              </a:ext>
            </a:extLst>
          </p:cNvPr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4052888" y="3757613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77813" indent="-277813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Arial" charset="0"/>
              <a:buChar char="•"/>
              <a:tabLst/>
              <a:defRPr sz="18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55566" indent="-261912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6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626999" indent="-271436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6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896850" indent="-26984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4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1074632" indent="-177784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349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6pPr>
            <a:lvl7pPr marL="2971504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7pPr>
            <a:lvl8pPr marL="3428658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8pPr>
            <a:lvl9pPr marL="3885814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Aft>
                <a:spcPct val="0"/>
              </a:spcAft>
              <a:buNone/>
            </a:pPr>
            <a:fld id="{89AC7DF2-AF19-4861-B007-5F7072B4375B}" type="datetime'''''''''''''''''''''''''''''''''''''2''0''''''''''''2''0'">
              <a:rPr lang="en-GB" altLang="en-US" sz="1000" b="0" smtClean="0">
                <a:latin typeface="+mn-lt"/>
                <a:ea typeface="+mn-ea"/>
                <a:cs typeface="+mn-cs"/>
              </a:rPr>
              <a:pPr/>
              <a:t>2020</a:t>
            </a:fld>
            <a:endParaRPr lang="en-GB" sz="1000" b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F8FC1C1B-3798-432C-BF52-045682302E4F}"/>
              </a:ext>
            </a:extLst>
          </p:cNvPr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4098926" y="979488"/>
            <a:ext cx="20002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4288" tIns="0" rIns="14288" bIns="0" numCol="1" spcCol="0" anchor="b" anchorCtr="0" compatLnSpc="1">
            <a:prstTxWarp prst="textNoShape">
              <a:avLst/>
            </a:prstTxWarp>
            <a:noAutofit/>
          </a:bodyPr>
          <a:lstStyle>
            <a:lvl1pPr marL="277813" indent="-277813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Arial" charset="0"/>
              <a:buChar char="•"/>
              <a:tabLst/>
              <a:defRPr sz="18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55566" indent="-261912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6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626999" indent="-271436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6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896850" indent="-26984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4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1074632" indent="-177784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8A22F"/>
              </a:buClr>
              <a:buFont typeface="Lucida Grande"/>
              <a:buChar char="–"/>
              <a:defRPr sz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349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6pPr>
            <a:lvl7pPr marL="2971504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7pPr>
            <a:lvl8pPr marL="3428658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8pPr>
            <a:lvl9pPr marL="3885814" indent="-22857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Aft>
                <a:spcPct val="0"/>
              </a:spcAft>
              <a:buNone/>
            </a:pPr>
            <a:fld id="{7B99BC24-25BC-4FDA-9448-F640060F3D80}" type="datetime'''''''''2''''8''''9'''''''''''''''''''''''''">
              <a:rPr lang="en-GB" altLang="en-US" sz="800" b="0" smtClean="0">
                <a:latin typeface="+mn-lt"/>
                <a:ea typeface="+mn-ea"/>
                <a:cs typeface="+mn-cs"/>
              </a:rPr>
              <a:pPr/>
              <a:t>289</a:t>
            </a:fld>
            <a:endParaRPr lang="en-GB" sz="1000" b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00C6D13B-7D14-45E8-A94F-694DA19B00EC}"/>
              </a:ext>
            </a:extLst>
          </p:cNvPr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3557588" y="827088"/>
            <a:ext cx="1284288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5080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r>
              <a:rPr lang="en-GB" sz="1000" b="1" dirty="0">
                <a:cs typeface="+mn-cs"/>
                <a:sym typeface="+mn-lt"/>
              </a:rPr>
              <a:t>G</a:t>
            </a:r>
            <a:r>
              <a:rPr lang="en-US" sz="1000" b="1" dirty="0">
                <a:cs typeface="+mn-cs"/>
                <a:sym typeface="+mn-lt"/>
              </a:rPr>
              <a:t>B Generation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96FFD67A-0D84-49B9-A4B0-24B9212D0A2E}"/>
              </a:ext>
            </a:extLst>
          </p:cNvPr>
          <p:cNvSpPr txBox="1"/>
          <p:nvPr/>
        </p:nvSpPr>
        <p:spPr bwMode="auto">
          <a:xfrm>
            <a:off x="5710507" y="2760479"/>
            <a:ext cx="3191210" cy="823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accent1"/>
              </a:buClr>
            </a:pPr>
            <a:r>
              <a:rPr lang="en-GB" sz="1000" dirty="0"/>
              <a:t>Role of gas generation changing</a:t>
            </a:r>
            <a:endParaRPr lang="en-US" sz="1000" dirty="0"/>
          </a:p>
          <a:p>
            <a:pPr marL="171450" indent="-17145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b="0" dirty="0"/>
              <a:t>CCGT </a:t>
            </a:r>
            <a:r>
              <a:rPr lang="en-US" sz="900" b="0"/>
              <a:t>production</a:t>
            </a:r>
            <a:r>
              <a:rPr lang="en-US" sz="900" b="0" dirty="0"/>
              <a:t> falling as capacity planning sees their baseload role fall off in </a:t>
            </a:r>
            <a:r>
              <a:rPr lang="en-US" sz="900" b="0" dirty="0" err="1"/>
              <a:t>favour</a:t>
            </a:r>
            <a:r>
              <a:rPr lang="en-US" sz="900" b="0" dirty="0"/>
              <a:t> of providing backup for RES</a:t>
            </a:r>
          </a:p>
          <a:p>
            <a:pPr marL="171450" indent="-17145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900" b="0" dirty="0"/>
              <a:t>Opportunities for more efficient </a:t>
            </a:r>
            <a:r>
              <a:rPr lang="en-GB" sz="900" b="0" dirty="0" err="1"/>
              <a:t>peakers</a:t>
            </a:r>
            <a:r>
              <a:rPr lang="en-GB" sz="900" b="0" dirty="0"/>
              <a:t> at intra-day and balancing stages to profit from RES intermittency</a:t>
            </a:r>
            <a:endParaRPr lang="en-US" sz="900" b="0" dirty="0"/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C8D40D48-0FA3-4EF7-B7A3-926E6688796A}"/>
              </a:ext>
            </a:extLst>
          </p:cNvPr>
          <p:cNvSpPr txBox="1"/>
          <p:nvPr/>
        </p:nvSpPr>
        <p:spPr bwMode="auto">
          <a:xfrm>
            <a:off x="5709248" y="3887874"/>
            <a:ext cx="3192469" cy="1123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1000" dirty="0"/>
              <a:t>Imports play a key part</a:t>
            </a:r>
          </a:p>
          <a:p>
            <a:pPr marL="171450" indent="-17145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b="0" dirty="0"/>
              <a:t>Interconnection contributes to security of supply and keeps costs down for consumers</a:t>
            </a:r>
          </a:p>
          <a:p>
            <a:pPr marL="171450" indent="-171450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900" b="0" dirty="0"/>
              <a:t>A</a:t>
            </a:r>
            <a:r>
              <a:rPr lang="en-US" sz="900" b="0" dirty="0" err="1"/>
              <a:t>llows</a:t>
            </a:r>
            <a:r>
              <a:rPr lang="en-US" sz="900" b="0" dirty="0"/>
              <a:t> for renewable integration and development across Europe as excess generation can be exported rather than being curtailed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800" b="0" dirty="0"/>
          </a:p>
        </p:txBody>
      </p:sp>
      <p:pic>
        <p:nvPicPr>
          <p:cNvPr id="159" name="Picture 158">
            <a:extLst>
              <a:ext uri="{FF2B5EF4-FFF2-40B4-BE49-F238E27FC236}">
                <a16:creationId xmlns:a16="http://schemas.microsoft.com/office/drawing/2014/main" id="{2B048D76-A3D0-432A-8D43-1B07240A42BA}"/>
              </a:ext>
            </a:extLst>
          </p:cNvPr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5084653" y="3910013"/>
            <a:ext cx="420068" cy="328568"/>
          </a:xfrm>
          <a:prstGeom prst="rect">
            <a:avLst/>
          </a:prstGeom>
        </p:spPr>
      </p:pic>
      <p:pic>
        <p:nvPicPr>
          <p:cNvPr id="160" name="Picture 159">
            <a:extLst>
              <a:ext uri="{FF2B5EF4-FFF2-40B4-BE49-F238E27FC236}">
                <a16:creationId xmlns:a16="http://schemas.microsoft.com/office/drawing/2014/main" id="{CA5684F1-9870-4402-894C-EA08053BE59D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 rot="10800000" flipV="1">
            <a:off x="5059483" y="2765302"/>
            <a:ext cx="396455" cy="506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3776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0EDF7BE-3C41-4432-8134-6EEC55C8AB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1656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0EDF7BE-3C41-4432-8134-6EEC55C8AB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620018B9-5E00-4EF4-B452-6B4F0A2C4A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759" y="179244"/>
            <a:ext cx="8497370" cy="674766"/>
          </a:xfrm>
        </p:spPr>
        <p:txBody>
          <a:bodyPr vert="horz"/>
          <a:lstStyle/>
          <a:p>
            <a:r>
              <a:rPr lang="en-GB" sz="2000"/>
              <a:t>How do Interconnector flows behave? </a:t>
            </a:r>
            <a:r>
              <a:rPr lang="en-GB" sz="2000" b="0"/>
              <a:t>Energy flows from countries with cheaper resources to countries with more expensive resources.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C729C1DF-9702-458A-96BE-3F7B316C7119}"/>
              </a:ext>
            </a:extLst>
          </p:cNvPr>
          <p:cNvSpPr txBox="1"/>
          <p:nvPr/>
        </p:nvSpPr>
        <p:spPr bwMode="auto">
          <a:xfrm>
            <a:off x="887936" y="968322"/>
            <a:ext cx="4934722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200" b="0" kern="0">
                <a:solidFill>
                  <a:schemeClr val="tx1"/>
                </a:solidFill>
                <a:latin typeface="+mn-lt"/>
                <a:ea typeface="+mn-ea"/>
              </a:rPr>
              <a:t>Power Prices [€/MWh]</a:t>
            </a: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9ADBE850-A4A3-4D4D-B8E2-2115B4CF26A8}"/>
              </a:ext>
            </a:extLst>
          </p:cNvPr>
          <p:cNvGrpSpPr/>
          <p:nvPr/>
        </p:nvGrpSpPr>
        <p:grpSpPr>
          <a:xfrm>
            <a:off x="887935" y="1152989"/>
            <a:ext cx="4934722" cy="3500635"/>
            <a:chOff x="2099083" y="924959"/>
            <a:chExt cx="4934722" cy="3500635"/>
          </a:xfrm>
        </p:grpSpPr>
        <p:pic>
          <p:nvPicPr>
            <p:cNvPr id="102" name="Picture 101" descr="Map&#10;&#10;Description automatically generated">
              <a:extLst>
                <a:ext uri="{FF2B5EF4-FFF2-40B4-BE49-F238E27FC236}">
                  <a16:creationId xmlns:a16="http://schemas.microsoft.com/office/drawing/2014/main" id="{7F1B83D7-2F8F-4206-8EA4-C894E91EE82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099083" y="924959"/>
              <a:ext cx="4934722" cy="3500635"/>
            </a:xfrm>
            <a:prstGeom prst="rect">
              <a:avLst/>
            </a:prstGeom>
          </p:spPr>
        </p:pic>
        <p:cxnSp>
          <p:nvCxnSpPr>
            <p:cNvPr id="103" name="Straight Arrow Connector 102">
              <a:extLst>
                <a:ext uri="{FF2B5EF4-FFF2-40B4-BE49-F238E27FC236}">
                  <a16:creationId xmlns:a16="http://schemas.microsoft.com/office/drawing/2014/main" id="{477546D4-EA3F-461A-B626-ED60331219E7}"/>
                </a:ext>
              </a:extLst>
            </p:cNvPr>
            <p:cNvCxnSpPr/>
            <p:nvPr/>
          </p:nvCxnSpPr>
          <p:spPr bwMode="auto">
            <a:xfrm flipH="1" flipV="1">
              <a:off x="3758758" y="2675276"/>
              <a:ext cx="541585" cy="899409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9AF2BF07-6FAA-47F8-9CBE-D88C7DBE1BFD}"/>
                </a:ext>
              </a:extLst>
            </p:cNvPr>
            <p:cNvSpPr txBox="1"/>
            <p:nvPr/>
          </p:nvSpPr>
          <p:spPr bwMode="auto">
            <a:xfrm>
              <a:off x="4029550" y="3612514"/>
              <a:ext cx="426251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1"/>
                </a:buClr>
              </a:pPr>
              <a:r>
                <a:rPr lang="en-GB" sz="1000" b="0" kern="0">
                  <a:solidFill>
                    <a:schemeClr val="bg1"/>
                  </a:solidFill>
                  <a:latin typeface="+mn-lt"/>
                  <a:ea typeface="+mn-ea"/>
                </a:rPr>
                <a:t>43.12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C1526F14-4BE0-4CA0-A5A3-F9ADF09DE40F}"/>
                </a:ext>
              </a:extLst>
            </p:cNvPr>
            <p:cNvSpPr txBox="1"/>
            <p:nvPr/>
          </p:nvSpPr>
          <p:spPr bwMode="auto">
            <a:xfrm>
              <a:off x="4768812" y="2730337"/>
              <a:ext cx="426251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1"/>
                </a:buClr>
              </a:pPr>
              <a:r>
                <a:rPr lang="en-GB" sz="1000" b="0" kern="0">
                  <a:solidFill>
                    <a:schemeClr val="bg1"/>
                  </a:solidFill>
                  <a:latin typeface="+mn-lt"/>
                  <a:ea typeface="+mn-ea"/>
                </a:rPr>
                <a:t>49.18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EDE127A2-5A49-4359-B6F3-D4D14106FFB8}"/>
                </a:ext>
              </a:extLst>
            </p:cNvPr>
            <p:cNvSpPr txBox="1"/>
            <p:nvPr/>
          </p:nvSpPr>
          <p:spPr bwMode="auto">
            <a:xfrm>
              <a:off x="4981937" y="2387084"/>
              <a:ext cx="426251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1"/>
                </a:buClr>
              </a:pPr>
              <a:r>
                <a:rPr lang="en-GB" sz="1000" b="0">
                  <a:solidFill>
                    <a:schemeClr val="bg1"/>
                  </a:solidFill>
                </a:rPr>
                <a:t>52.13</a:t>
              </a:r>
              <a:endParaRPr lang="en-GB" sz="1000" b="0" kern="0">
                <a:solidFill>
                  <a:schemeClr val="bg1"/>
                </a:solidFill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E299535F-375B-4575-BADA-E1D3B9A87D65}"/>
                </a:ext>
              </a:extLst>
            </p:cNvPr>
            <p:cNvSpPr txBox="1"/>
            <p:nvPr/>
          </p:nvSpPr>
          <p:spPr bwMode="auto">
            <a:xfrm>
              <a:off x="3545632" y="2333195"/>
              <a:ext cx="426251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1"/>
                </a:buClr>
              </a:pPr>
              <a:r>
                <a:rPr lang="en-GB" sz="1000" b="0">
                  <a:solidFill>
                    <a:schemeClr val="bg1"/>
                  </a:solidFill>
                </a:rPr>
                <a:t>58.71</a:t>
              </a:r>
              <a:endParaRPr lang="en-GB" sz="1000" b="0" kern="0">
                <a:solidFill>
                  <a:schemeClr val="bg1"/>
                </a:solidFill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BBCC53AF-C82D-4C0C-A350-0BFB73FE0CE0}"/>
                </a:ext>
              </a:extLst>
            </p:cNvPr>
            <p:cNvSpPr txBox="1"/>
            <p:nvPr/>
          </p:nvSpPr>
          <p:spPr bwMode="auto">
            <a:xfrm>
              <a:off x="2453694" y="2258077"/>
              <a:ext cx="426251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1"/>
                </a:buClr>
              </a:pPr>
              <a:r>
                <a:rPr lang="en-GB" sz="1000" b="0">
                  <a:solidFill>
                    <a:schemeClr val="tx1"/>
                  </a:solidFill>
                </a:rPr>
                <a:t>62.33</a:t>
              </a:r>
              <a:endParaRPr lang="en-GB" sz="1000" b="0" kern="0">
                <a:solidFill>
                  <a:schemeClr val="tx1"/>
                </a:solidFill>
              </a:endParaRPr>
            </a:p>
          </p:txBody>
        </p:sp>
        <p:cxnSp>
          <p:nvCxnSpPr>
            <p:cNvPr id="109" name="Straight Arrow Connector 108">
              <a:extLst>
                <a:ext uri="{FF2B5EF4-FFF2-40B4-BE49-F238E27FC236}">
                  <a16:creationId xmlns:a16="http://schemas.microsoft.com/office/drawing/2014/main" id="{93F2B179-F84F-4689-8991-C000E2B6552A}"/>
                </a:ext>
              </a:extLst>
            </p:cNvPr>
            <p:cNvCxnSpPr/>
            <p:nvPr/>
          </p:nvCxnSpPr>
          <p:spPr bwMode="auto">
            <a:xfrm flipH="1" flipV="1">
              <a:off x="4242675" y="2675276"/>
              <a:ext cx="518997" cy="55062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0" name="Straight Arrow Connector 109">
              <a:extLst>
                <a:ext uri="{FF2B5EF4-FFF2-40B4-BE49-F238E27FC236}">
                  <a16:creationId xmlns:a16="http://schemas.microsoft.com/office/drawing/2014/main" id="{9BB0B87D-CA0B-4039-8910-704C363F0A39}"/>
                </a:ext>
              </a:extLst>
            </p:cNvPr>
            <p:cNvCxnSpPr/>
            <p:nvPr/>
          </p:nvCxnSpPr>
          <p:spPr bwMode="auto">
            <a:xfrm flipH="1" flipV="1">
              <a:off x="4316738" y="2449937"/>
              <a:ext cx="611253" cy="85139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1" name="Straight Arrow Connector 110">
              <a:extLst>
                <a:ext uri="{FF2B5EF4-FFF2-40B4-BE49-F238E27FC236}">
                  <a16:creationId xmlns:a16="http://schemas.microsoft.com/office/drawing/2014/main" id="{15917493-8296-4748-95A2-29B99BD84F2C}"/>
                </a:ext>
              </a:extLst>
            </p:cNvPr>
            <p:cNvCxnSpPr>
              <a:endCxn id="108" idx="3"/>
            </p:cNvCxnSpPr>
            <p:nvPr/>
          </p:nvCxnSpPr>
          <p:spPr bwMode="auto">
            <a:xfrm flipH="1" flipV="1">
              <a:off x="2879945" y="2335021"/>
              <a:ext cx="545970" cy="78772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2" name="Straight Arrow Connector 111">
              <a:extLst>
                <a:ext uri="{FF2B5EF4-FFF2-40B4-BE49-F238E27FC236}">
                  <a16:creationId xmlns:a16="http://schemas.microsoft.com/office/drawing/2014/main" id="{4986D293-2C4E-47B8-9A3D-BF520798B8AE}"/>
                </a:ext>
              </a:extLst>
            </p:cNvPr>
            <p:cNvCxnSpPr/>
            <p:nvPr/>
          </p:nvCxnSpPr>
          <p:spPr bwMode="auto">
            <a:xfrm flipV="1">
              <a:off x="4981937" y="2932528"/>
              <a:ext cx="87593" cy="297304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3" name="Straight Arrow Connector 112">
              <a:extLst>
                <a:ext uri="{FF2B5EF4-FFF2-40B4-BE49-F238E27FC236}">
                  <a16:creationId xmlns:a16="http://schemas.microsoft.com/office/drawing/2014/main" id="{EE842A66-7B0F-40D0-94D5-3CADC1C5AF46}"/>
                </a:ext>
              </a:extLst>
            </p:cNvPr>
            <p:cNvCxnSpPr/>
            <p:nvPr/>
          </p:nvCxnSpPr>
          <p:spPr bwMode="auto">
            <a:xfrm flipV="1">
              <a:off x="5018934" y="2549265"/>
              <a:ext cx="50421" cy="202287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242E1C54-F3B3-4CC4-A5E2-E180DA1E62D4}"/>
                </a:ext>
              </a:extLst>
            </p:cNvPr>
            <p:cNvSpPr txBox="1"/>
            <p:nvPr/>
          </p:nvSpPr>
          <p:spPr bwMode="auto">
            <a:xfrm>
              <a:off x="3914726" y="3189750"/>
              <a:ext cx="494675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1"/>
                </a:buClr>
              </a:pPr>
              <a:r>
                <a:rPr lang="en-GB" sz="1000" b="0" kern="0">
                  <a:solidFill>
                    <a:schemeClr val="bg1"/>
                  </a:solidFill>
                  <a:latin typeface="+mn-lt"/>
                  <a:ea typeface="+mn-ea"/>
                </a:rPr>
                <a:t>FR-GB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6D6CD277-8B72-46AA-9C87-282340771320}"/>
                </a:ext>
              </a:extLst>
            </p:cNvPr>
            <p:cNvSpPr txBox="1"/>
            <p:nvPr/>
          </p:nvSpPr>
          <p:spPr bwMode="auto">
            <a:xfrm>
              <a:off x="4761672" y="3255202"/>
              <a:ext cx="494675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1"/>
                </a:buClr>
              </a:pPr>
              <a:r>
                <a:rPr lang="en-GB" sz="1000" b="0">
                  <a:solidFill>
                    <a:schemeClr val="bg1"/>
                  </a:solidFill>
                </a:rPr>
                <a:t>FR-BE</a:t>
              </a:r>
              <a:endParaRPr lang="en-GB" sz="1000" b="0" kern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5BD1AE3A-2E52-4739-872D-CC86855BD4D2}"/>
                </a:ext>
              </a:extLst>
            </p:cNvPr>
            <p:cNvSpPr txBox="1"/>
            <p:nvPr/>
          </p:nvSpPr>
          <p:spPr bwMode="auto">
            <a:xfrm>
              <a:off x="5106352" y="2597120"/>
              <a:ext cx="494675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1"/>
                </a:buClr>
              </a:pPr>
              <a:r>
                <a:rPr lang="en-GB" sz="1000" b="0">
                  <a:solidFill>
                    <a:schemeClr val="bg1"/>
                  </a:solidFill>
                </a:rPr>
                <a:t>BE-NL</a:t>
              </a:r>
              <a:endParaRPr lang="en-GB" sz="1000" b="0" kern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47A589E0-48C5-49C4-B58A-561A9C543D2C}"/>
                </a:ext>
              </a:extLst>
            </p:cNvPr>
            <p:cNvSpPr txBox="1"/>
            <p:nvPr/>
          </p:nvSpPr>
          <p:spPr bwMode="auto">
            <a:xfrm>
              <a:off x="4376698" y="2550811"/>
              <a:ext cx="494675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1"/>
                </a:buClr>
              </a:pPr>
              <a:r>
                <a:rPr lang="en-GB" sz="1000" b="0" kern="0">
                  <a:solidFill>
                    <a:schemeClr val="tx1"/>
                  </a:solidFill>
                  <a:latin typeface="+mn-lt"/>
                  <a:ea typeface="+mn-ea"/>
                </a:rPr>
                <a:t>BE-GB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4027E2BD-3E44-472A-A471-E89E2EAA7A2C}"/>
                </a:ext>
              </a:extLst>
            </p:cNvPr>
            <p:cNvSpPr txBox="1"/>
            <p:nvPr/>
          </p:nvSpPr>
          <p:spPr bwMode="auto">
            <a:xfrm>
              <a:off x="4460289" y="2269291"/>
              <a:ext cx="494675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1"/>
                </a:buClr>
              </a:pPr>
              <a:r>
                <a:rPr lang="en-GB" sz="1000" b="0" kern="0">
                  <a:solidFill>
                    <a:schemeClr val="tx1"/>
                  </a:solidFill>
                  <a:latin typeface="+mn-lt"/>
                  <a:ea typeface="+mn-ea"/>
                </a:rPr>
                <a:t>NL-GB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36C09C62-D8D6-4C6F-A880-4B767E1BB2DF}"/>
                </a:ext>
              </a:extLst>
            </p:cNvPr>
            <p:cNvSpPr txBox="1"/>
            <p:nvPr/>
          </p:nvSpPr>
          <p:spPr bwMode="auto">
            <a:xfrm>
              <a:off x="2682732" y="2623814"/>
              <a:ext cx="494675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1"/>
                </a:buClr>
              </a:pPr>
              <a:r>
                <a:rPr lang="en-GB" sz="1000" b="0" kern="0">
                  <a:solidFill>
                    <a:schemeClr val="tx1"/>
                  </a:solidFill>
                  <a:latin typeface="+mn-lt"/>
                  <a:ea typeface="+mn-ea"/>
                </a:rPr>
                <a:t>GB-IE</a:t>
              </a:r>
            </a:p>
          </p:txBody>
        </p:sp>
      </p:grpSp>
      <p:sp>
        <p:nvSpPr>
          <p:cNvPr id="120" name="TextBox 119">
            <a:extLst>
              <a:ext uri="{FF2B5EF4-FFF2-40B4-BE49-F238E27FC236}">
                <a16:creationId xmlns:a16="http://schemas.microsoft.com/office/drawing/2014/main" id="{23C0FDBD-7759-44B6-BE9A-99D72855110D}"/>
              </a:ext>
            </a:extLst>
          </p:cNvPr>
          <p:cNvSpPr txBox="1"/>
          <p:nvPr/>
        </p:nvSpPr>
        <p:spPr bwMode="auto">
          <a:xfrm>
            <a:off x="6038158" y="1863723"/>
            <a:ext cx="2431649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You may find periods in the data where you see flow between two countries with the same power price. This is known as a market coupling flow. Without this flow a more expensive resource would have to generate in destination country.</a:t>
            </a:r>
          </a:p>
        </p:txBody>
      </p:sp>
    </p:spTree>
    <p:extLst>
      <p:ext uri="{BB962C8B-B14F-4D97-AF65-F5344CB8AC3E}">
        <p14:creationId xmlns:p14="http://schemas.microsoft.com/office/powerpoint/2010/main" val="27821147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D263739-89EF-42CD-BAF0-143A28E1B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0757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D263739-89EF-42CD-BAF0-143A28E1B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14924D12-C5B8-47B0-B98E-E66028E587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961146"/>
              </p:ext>
            </p:extLst>
          </p:nvPr>
        </p:nvGraphicFramePr>
        <p:xfrm>
          <a:off x="257815" y="930757"/>
          <a:ext cx="8664424" cy="3398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1428">
                  <a:extLst>
                    <a:ext uri="{9D8B030D-6E8A-4147-A177-3AD203B41FA5}">
                      <a16:colId xmlns:a16="http://schemas.microsoft.com/office/drawing/2014/main" val="3322965810"/>
                    </a:ext>
                  </a:extLst>
                </a:gridCol>
                <a:gridCol w="1305243">
                  <a:extLst>
                    <a:ext uri="{9D8B030D-6E8A-4147-A177-3AD203B41FA5}">
                      <a16:colId xmlns:a16="http://schemas.microsoft.com/office/drawing/2014/main" val="2819248653"/>
                    </a:ext>
                  </a:extLst>
                </a:gridCol>
                <a:gridCol w="2043430">
                  <a:extLst>
                    <a:ext uri="{9D8B030D-6E8A-4147-A177-3AD203B41FA5}">
                      <a16:colId xmlns:a16="http://schemas.microsoft.com/office/drawing/2014/main" val="4152834044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55091213"/>
                    </a:ext>
                  </a:extLst>
                </a:gridCol>
                <a:gridCol w="1408255">
                  <a:extLst>
                    <a:ext uri="{9D8B030D-6E8A-4147-A177-3AD203B41FA5}">
                      <a16:colId xmlns:a16="http://schemas.microsoft.com/office/drawing/2014/main" val="372928521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3214026578"/>
                    </a:ext>
                  </a:extLst>
                </a:gridCol>
                <a:gridCol w="2064068">
                  <a:extLst>
                    <a:ext uri="{9D8B030D-6E8A-4147-A177-3AD203B41FA5}">
                      <a16:colId xmlns:a16="http://schemas.microsoft.com/office/drawing/2014/main" val="232570534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GB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chemeClr val="accent1"/>
                          </a:solidFill>
                        </a:rPr>
                        <a:t>Fuel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chemeClr val="accent1"/>
                          </a:solidFill>
                        </a:rPr>
                        <a:t>Fuel CO</a:t>
                      </a:r>
                      <a:r>
                        <a:rPr lang="en-GB" sz="1400" baseline="-25000">
                          <a:solidFill>
                            <a:schemeClr val="accent1"/>
                          </a:solidFill>
                        </a:rPr>
                        <a:t>2</a:t>
                      </a:r>
                      <a:r>
                        <a:rPr lang="en-GB" sz="1400">
                          <a:solidFill>
                            <a:schemeClr val="accent1"/>
                          </a:solidFill>
                        </a:rPr>
                        <a:t> Production Rate [tonnes/MWh]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>
                          <a:solidFill>
                            <a:schemeClr val="accent1"/>
                          </a:solidFill>
                        </a:rPr>
                        <a:t>/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chemeClr val="accent1"/>
                          </a:solidFill>
                        </a:rPr>
                        <a:t>Plant Efficiency [%]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>
                          <a:solidFill>
                            <a:schemeClr val="accent1"/>
                          </a:solidFill>
                        </a:rPr>
                        <a:t>=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chemeClr val="accent1"/>
                          </a:solidFill>
                        </a:rPr>
                        <a:t>Plant CO</a:t>
                      </a:r>
                      <a:r>
                        <a:rPr lang="en-GB" sz="1400" baseline="-25000">
                          <a:solidFill>
                            <a:schemeClr val="accent1"/>
                          </a:solidFill>
                        </a:rPr>
                        <a:t>2</a:t>
                      </a:r>
                      <a:r>
                        <a:rPr lang="en-GB" sz="1400">
                          <a:solidFill>
                            <a:schemeClr val="accent1"/>
                          </a:solidFill>
                        </a:rPr>
                        <a:t> Intensity [tonnes/MWh]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1940182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endParaRPr lang="en-GB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chemeClr val="tx1"/>
                          </a:solidFill>
                        </a:rPr>
                        <a:t>Ga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>
                          <a:solidFill>
                            <a:schemeClr val="tx1"/>
                          </a:solidFill>
                        </a:rPr>
                        <a:t>0.204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GB" sz="4400">
                          <a:solidFill>
                            <a:schemeClr val="tx1"/>
                          </a:solidFill>
                        </a:rPr>
                        <a:t>/</a:t>
                      </a:r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>
                          <a:solidFill>
                            <a:schemeClr val="tx1"/>
                          </a:solidFill>
                        </a:rPr>
                        <a:t>56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GB" sz="4400">
                          <a:solidFill>
                            <a:schemeClr val="tx1"/>
                          </a:solidFill>
                        </a:rPr>
                        <a:t>=</a:t>
                      </a:r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>
                          <a:solidFill>
                            <a:schemeClr val="tx1"/>
                          </a:solidFill>
                        </a:rPr>
                        <a:t>0.364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134207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endParaRPr lang="en-GB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chemeClr val="tx1"/>
                          </a:solidFill>
                        </a:rPr>
                        <a:t>Coal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>
                          <a:solidFill>
                            <a:schemeClr val="tx1"/>
                          </a:solidFill>
                        </a:rPr>
                        <a:t>0.334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>
                          <a:solidFill>
                            <a:schemeClr val="tx1"/>
                          </a:solidFill>
                        </a:rPr>
                        <a:t>3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>
                          <a:solidFill>
                            <a:schemeClr val="tx1"/>
                          </a:solidFill>
                        </a:rPr>
                        <a:t>0.9455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8045248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endParaRPr lang="en-GB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chemeClr val="tx1"/>
                          </a:solidFill>
                        </a:rPr>
                        <a:t>Renewables </a:t>
                      </a:r>
                    </a:p>
                    <a:p>
                      <a:r>
                        <a:rPr lang="en-GB" sz="1400">
                          <a:solidFill>
                            <a:schemeClr val="tx1"/>
                          </a:solidFill>
                        </a:rPr>
                        <a:t>&amp; Nuclea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>
                          <a:solidFill>
                            <a:schemeClr val="tx1"/>
                          </a:solidFill>
                        </a:rPr>
                        <a:t>3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5138407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endParaRPr lang="en-GB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chemeClr val="tx1"/>
                          </a:solidFill>
                        </a:rPr>
                        <a:t>Biomas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>
                          <a:solidFill>
                            <a:schemeClr val="tx1"/>
                          </a:solidFill>
                        </a:rPr>
                        <a:t> 0.0156*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>
                          <a:solidFill>
                            <a:schemeClr val="tx1"/>
                          </a:solidFill>
                        </a:rPr>
                        <a:t>34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>
                          <a:solidFill>
                            <a:schemeClr val="tx1"/>
                          </a:solidFill>
                        </a:rPr>
                        <a:t>0.0459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8442924"/>
                  </a:ext>
                </a:extLst>
              </a:tr>
            </a:tbl>
          </a:graphicData>
        </a:graphic>
      </p:graphicFrame>
      <p:sp>
        <p:nvSpPr>
          <p:cNvPr id="5" name="Title 5">
            <a:extLst>
              <a:ext uri="{FF2B5EF4-FFF2-40B4-BE49-F238E27FC236}">
                <a16:creationId xmlns:a16="http://schemas.microsoft.com/office/drawing/2014/main" id="{B4F259A6-90A9-4F89-AAA1-51CDADCFAD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759" y="179244"/>
            <a:ext cx="8497370" cy="674766"/>
          </a:xfrm>
        </p:spPr>
        <p:txBody>
          <a:bodyPr vert="horz"/>
          <a:lstStyle/>
          <a:p>
            <a:r>
              <a:rPr lang="en-GB" sz="2000"/>
              <a:t>How much carbon is emitted from generating power? </a:t>
            </a:r>
            <a:endParaRPr lang="en-GB" sz="2000" b="0"/>
          </a:p>
        </p:txBody>
      </p:sp>
      <p:pic>
        <p:nvPicPr>
          <p:cNvPr id="12" name="icn-28.pdf" descr="icn-28.pdf">
            <a:extLst>
              <a:ext uri="{FF2B5EF4-FFF2-40B4-BE49-F238E27FC236}">
                <a16:creationId xmlns:a16="http://schemas.microsoft.com/office/drawing/2014/main" id="{40FD09BF-BF1B-4DC5-9BAA-5E995FF4A6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4318" y="2848293"/>
            <a:ext cx="786082" cy="786082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1785221-532A-4940-968A-34138B133509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58153" y="2970873"/>
            <a:ext cx="470409" cy="482079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A3066838-EF44-4DFF-B00B-51AC8CBE2A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902" y="2307801"/>
            <a:ext cx="462426" cy="462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E50A17-DF4D-42BB-930F-E83E1508D2C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0800000" flipV="1">
            <a:off x="596903" y="1569625"/>
            <a:ext cx="396455" cy="506283"/>
          </a:xfrm>
          <a:prstGeom prst="rect">
            <a:avLst/>
          </a:prstGeom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F5ACCB99-B9ED-4CCD-BE74-25D2C737C7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254" y="3688265"/>
            <a:ext cx="687751" cy="687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81925FD-EA68-4A6C-BFE9-2602FD896AD5}"/>
              </a:ext>
            </a:extLst>
          </p:cNvPr>
          <p:cNvSpPr txBox="1"/>
          <p:nvPr/>
        </p:nvSpPr>
        <p:spPr bwMode="auto">
          <a:xfrm>
            <a:off x="1419921" y="4372611"/>
            <a:ext cx="6988098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600"/>
              </a:spcAft>
              <a:buClr>
                <a:schemeClr val="tx1"/>
              </a:buClr>
            </a:pPr>
            <a:r>
              <a:rPr lang="en-GB" sz="1200" b="0">
                <a:solidFill>
                  <a:schemeClr val="tx1"/>
                </a:solidFill>
              </a:rPr>
              <a:t>*Biomass emissions are considered net-zero emissions as the carbon content of the fuel was absorbed during the plant’s growth from the atmosphere.</a:t>
            </a:r>
          </a:p>
          <a:p>
            <a:r>
              <a:rPr lang="en-GB" sz="1000">
                <a:solidFill>
                  <a:schemeClr val="tx1"/>
                </a:solidFill>
              </a:rPr>
              <a:t>Source: </a:t>
            </a:r>
            <a:r>
              <a:rPr lang="en-GB" sz="1000" u="sng">
                <a:solidFill>
                  <a:schemeClr val="tx1"/>
                </a:solidFill>
                <a:hlinkClick r:id="rId12"/>
              </a:rPr>
              <a:t>Greenhouse gas reporting: Conversion Factors 2019</a:t>
            </a:r>
            <a:r>
              <a:rPr lang="en-GB" sz="1000">
                <a:solidFill>
                  <a:schemeClr val="tx1"/>
                </a:solidFill>
                <a:hlinkClick r:id="rId12"/>
              </a:rPr>
              <a:t> </a:t>
            </a:r>
            <a:endParaRPr lang="en-GB">
              <a:solidFill>
                <a:schemeClr val="tx1"/>
              </a:solidFill>
            </a:endParaRPr>
          </a:p>
        </p:txBody>
      </p: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C95991B3-7F72-4BEA-91BD-109FBB02BB4E}"/>
              </a:ext>
            </a:extLst>
          </p:cNvPr>
          <p:cNvCxnSpPr/>
          <p:nvPr/>
        </p:nvCxnSpPr>
        <p:spPr bwMode="auto">
          <a:xfrm flipV="1">
            <a:off x="5828371" y="661639"/>
            <a:ext cx="944136" cy="269118"/>
          </a:xfrm>
          <a:prstGeom prst="bentConnector3">
            <a:avLst>
              <a:gd name="adj1" fmla="val 1181"/>
            </a:avLst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92A84BC0-5958-4E56-B43C-ABAB4E44D05C}"/>
              </a:ext>
            </a:extLst>
          </p:cNvPr>
          <p:cNvSpPr txBox="1"/>
          <p:nvPr/>
        </p:nvSpPr>
        <p:spPr bwMode="auto">
          <a:xfrm>
            <a:off x="6898887" y="519199"/>
            <a:ext cx="202335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600"/>
              </a:spcAft>
              <a:buClr>
                <a:schemeClr val="tx1"/>
              </a:buClr>
            </a:pPr>
            <a:r>
              <a:rPr lang="en-GB" sz="1600" b="0">
                <a:solidFill>
                  <a:srgbClr val="FA4616"/>
                </a:solidFill>
              </a:rPr>
              <a:t>Plant dependent</a:t>
            </a:r>
            <a:endParaRPr lang="en-GB" sz="1600" b="0" kern="0">
              <a:solidFill>
                <a:srgbClr val="FA461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5437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6357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ct val="0"/>
              </a:spcAft>
            </a:pPr>
            <a:endParaRPr lang="en-GB" sz="2000" b="0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2780" y="267573"/>
            <a:ext cx="8473350" cy="657337"/>
          </a:xfrm>
        </p:spPr>
        <p:txBody>
          <a:bodyPr/>
          <a:lstStyle/>
          <a:p>
            <a:r>
              <a:rPr lang="en-GB" sz="2000" b="0" dirty="0"/>
              <a:t>Project Data &amp; Reporting Metrics</a:t>
            </a:r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DBD63728-3A97-4549-A4D8-921897D8A7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9783" y="924910"/>
            <a:ext cx="8009132" cy="4493538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>
                <a:solidFill>
                  <a:srgbClr val="00148C"/>
                </a:solidFill>
              </a:rPr>
              <a:t>Methodology: </a:t>
            </a:r>
          </a:p>
          <a:p>
            <a:pPr marL="342900" indent="-342900">
              <a:lnSpc>
                <a:spcPct val="15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800" b="0" dirty="0">
                <a:solidFill>
                  <a:schemeClr val="tx1"/>
                </a:solidFill>
              </a:rPr>
              <a:t>Extract aggregated generation by technology using Python APIs </a:t>
            </a:r>
            <a:r>
              <a:rPr lang="en-GB" sz="1800" dirty="0">
                <a:solidFill>
                  <a:schemeClr val="tx1"/>
                </a:solidFill>
              </a:rPr>
              <a:t>(NG)</a:t>
            </a:r>
          </a:p>
          <a:p>
            <a:pPr marL="342900" indent="-342900">
              <a:lnSpc>
                <a:spcPct val="15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b="0" kern="1200" dirty="0">
                <a:solidFill>
                  <a:schemeClr val="tx1"/>
                </a:solidFill>
              </a:rPr>
              <a:t>Find share of energy consumption per fuel type for every country</a:t>
            </a:r>
          </a:p>
          <a:p>
            <a:pPr marL="342900" indent="-342900">
              <a:lnSpc>
                <a:spcPct val="15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b="0" kern="1200" dirty="0">
                <a:solidFill>
                  <a:schemeClr val="tx1"/>
                </a:solidFill>
              </a:rPr>
              <a:t>Categorize energy consumption into </a:t>
            </a:r>
            <a:r>
              <a:rPr lang="en-US" kern="1200" dirty="0">
                <a:solidFill>
                  <a:schemeClr val="tx1"/>
                </a:solidFill>
              </a:rPr>
              <a:t>Zero Carbon, Fossil Fuel, Biomass &amp; Waste </a:t>
            </a:r>
            <a:r>
              <a:rPr lang="en-US" b="0" kern="1200" dirty="0">
                <a:solidFill>
                  <a:schemeClr val="tx1"/>
                </a:solidFill>
              </a:rPr>
              <a:t>for</a:t>
            </a:r>
            <a:r>
              <a:rPr lang="en-US" kern="1200" dirty="0">
                <a:solidFill>
                  <a:schemeClr val="tx1"/>
                </a:solidFill>
              </a:rPr>
              <a:t> </a:t>
            </a:r>
            <a:r>
              <a:rPr lang="en-US" b="0" kern="1200" dirty="0">
                <a:solidFill>
                  <a:schemeClr val="tx1"/>
                </a:solidFill>
              </a:rPr>
              <a:t>every country &amp; interconnector</a:t>
            </a:r>
          </a:p>
          <a:p>
            <a:pPr marL="342900" indent="-342900">
              <a:lnSpc>
                <a:spcPct val="15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b="0" kern="1200" dirty="0">
                <a:solidFill>
                  <a:schemeClr val="tx1"/>
                </a:solidFill>
              </a:rPr>
              <a:t> Find carbon intensity of a country then carbon savings from interconnector flows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US" b="0" kern="1200" dirty="0">
              <a:solidFill>
                <a:schemeClr val="tx1"/>
              </a:solidFill>
            </a:endParaRP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US" b="0" kern="1200" dirty="0">
              <a:solidFill>
                <a:schemeClr val="tx1"/>
              </a:solidFill>
            </a:endParaRP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GB" sz="1800" dirty="0">
              <a:solidFill>
                <a:schemeClr val="tx1"/>
              </a:solidFill>
            </a:endParaRP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29350248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7" imgW="270" imgH="270" progId="TCLayout.ActiveDocument.1">
                  <p:embed/>
                </p:oleObj>
              </mc:Choice>
              <mc:Fallback>
                <p:oleObj name="think-cell Slide" r:id="rId47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ct val="0"/>
              </a:spcAft>
            </a:pPr>
            <a:endParaRPr lang="en-US" sz="1200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2E2BDA7-F95C-4590-BB78-595F9E21C03A}"/>
              </a:ext>
            </a:extLst>
          </p:cNvPr>
          <p:cNvSpPr txBox="1"/>
          <p:nvPr/>
        </p:nvSpPr>
        <p:spPr bwMode="auto">
          <a:xfrm>
            <a:off x="1278000" y="4726800"/>
            <a:ext cx="5304516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100" b="0" kern="1200">
                <a:solidFill>
                  <a:schemeClr val="tx1"/>
                </a:solidFill>
              </a:rPr>
              <a:t>Sources: </a:t>
            </a:r>
            <a:r>
              <a:rPr lang="en-US" sz="1100" b="0" kern="1200" err="1">
                <a:solidFill>
                  <a:schemeClr val="tx1"/>
                </a:solidFill>
              </a:rPr>
              <a:t>Elexon</a:t>
            </a:r>
            <a:r>
              <a:rPr lang="en-US" sz="1100" b="0" kern="1200">
                <a:solidFill>
                  <a:schemeClr val="tx1"/>
                </a:solidFill>
              </a:rPr>
              <a:t>, ESO Data Portal</a:t>
            </a:r>
          </a:p>
        </p:txBody>
      </p:sp>
      <p:sp>
        <p:nvSpPr>
          <p:cNvPr id="8" name="Right Brace 7">
            <a:extLst>
              <a:ext uri="{FF2B5EF4-FFF2-40B4-BE49-F238E27FC236}">
                <a16:creationId xmlns:a16="http://schemas.microsoft.com/office/drawing/2014/main" id="{887EFB09-3E7E-437D-927F-E4592FD2F59E}"/>
              </a:ext>
            </a:extLst>
          </p:cNvPr>
          <p:cNvSpPr/>
          <p:nvPr/>
        </p:nvSpPr>
        <p:spPr bwMode="auto">
          <a:xfrm>
            <a:off x="7729551" y="1620763"/>
            <a:ext cx="214313" cy="381150"/>
          </a:xfrm>
          <a:prstGeom prst="rightBrace">
            <a:avLst>
              <a:gd name="adj1" fmla="val 31026"/>
              <a:gd name="adj2" fmla="val 50000"/>
            </a:avLst>
          </a:prstGeom>
          <a:noFill/>
          <a:ln w="9525" cap="flat" cmpd="sng" algn="ctr">
            <a:solidFill>
              <a:srgbClr val="7F917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1" i="0" u="none" strike="noStrike" cap="none" normalizeH="0" baseline="0">
              <a:ln>
                <a:noFill/>
              </a:ln>
              <a:solidFill>
                <a:srgbClr val="0079C1"/>
              </a:solidFill>
              <a:effectLst/>
              <a:latin typeface="Arial" charset="0"/>
              <a:ea typeface="ＭＳ Ｐゴシック" pitchFamily="48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2E2DD12-5037-4647-A8C0-4F46A3CA15C5}"/>
              </a:ext>
            </a:extLst>
          </p:cNvPr>
          <p:cNvSpPr txBox="1"/>
          <p:nvPr/>
        </p:nvSpPr>
        <p:spPr bwMode="auto">
          <a:xfrm>
            <a:off x="8021462" y="1581151"/>
            <a:ext cx="113110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600"/>
              </a:spcAft>
              <a:buClr>
                <a:schemeClr val="tx1"/>
              </a:buClr>
            </a:pPr>
            <a:r>
              <a:rPr lang="en-GB" sz="1600" b="0" kern="0">
                <a:solidFill>
                  <a:srgbClr val="7F9178"/>
                </a:solidFill>
                <a:latin typeface="+mn-lt"/>
                <a:ea typeface="+mn-ea"/>
              </a:rPr>
              <a:t>Biomass &amp; Waste</a:t>
            </a:r>
          </a:p>
        </p:txBody>
      </p:sp>
      <p:sp>
        <p:nvSpPr>
          <p:cNvPr id="110" name="Right Brace 109">
            <a:extLst>
              <a:ext uri="{FF2B5EF4-FFF2-40B4-BE49-F238E27FC236}">
                <a16:creationId xmlns:a16="http://schemas.microsoft.com/office/drawing/2014/main" id="{41355A78-DE4E-4C55-81FE-8D4B501557DC}"/>
              </a:ext>
            </a:extLst>
          </p:cNvPr>
          <p:cNvSpPr/>
          <p:nvPr/>
        </p:nvSpPr>
        <p:spPr bwMode="auto">
          <a:xfrm>
            <a:off x="7728751" y="2059682"/>
            <a:ext cx="215900" cy="1370211"/>
          </a:xfrm>
          <a:prstGeom prst="rightBrace">
            <a:avLst>
              <a:gd name="adj1" fmla="val 31026"/>
              <a:gd name="adj2" fmla="val 50000"/>
            </a:avLst>
          </a:prstGeom>
          <a:noFill/>
          <a:ln w="9525" cap="flat" cmpd="sng" algn="ctr">
            <a:solidFill>
              <a:srgbClr val="5FAB1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1" i="0" u="none" strike="noStrike" cap="none" normalizeH="0" baseline="0">
              <a:ln>
                <a:noFill/>
              </a:ln>
              <a:solidFill>
                <a:srgbClr val="5FAB18"/>
              </a:solidFill>
              <a:effectLst/>
              <a:latin typeface="Arial" charset="0"/>
              <a:ea typeface="ＭＳ Ｐゴシック" pitchFamily="48" charset="-128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2BB6E06C-2122-4F2D-AE01-3ED7DD797D18}"/>
              </a:ext>
            </a:extLst>
          </p:cNvPr>
          <p:cNvSpPr txBox="1"/>
          <p:nvPr/>
        </p:nvSpPr>
        <p:spPr bwMode="auto">
          <a:xfrm>
            <a:off x="8058150" y="2468245"/>
            <a:ext cx="113110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600"/>
              </a:spcAft>
              <a:buClr>
                <a:schemeClr val="tx1"/>
              </a:buClr>
            </a:pPr>
            <a:r>
              <a:rPr lang="en-GB" sz="1600" b="0">
                <a:solidFill>
                  <a:srgbClr val="5FAB18"/>
                </a:solidFill>
              </a:rPr>
              <a:t>Zero-Carbon</a:t>
            </a:r>
            <a:endParaRPr lang="en-GB" sz="1600" b="0" kern="0">
              <a:solidFill>
                <a:srgbClr val="5FAB18"/>
              </a:solidFill>
            </a:endParaRPr>
          </a:p>
        </p:txBody>
      </p:sp>
      <p:sp>
        <p:nvSpPr>
          <p:cNvPr id="114" name="Right Brace 113">
            <a:extLst>
              <a:ext uri="{FF2B5EF4-FFF2-40B4-BE49-F238E27FC236}">
                <a16:creationId xmlns:a16="http://schemas.microsoft.com/office/drawing/2014/main" id="{64444AAF-D5A1-4B1B-929F-B1F101E42B69}"/>
              </a:ext>
            </a:extLst>
          </p:cNvPr>
          <p:cNvSpPr/>
          <p:nvPr/>
        </p:nvSpPr>
        <p:spPr bwMode="auto">
          <a:xfrm>
            <a:off x="7730338" y="3481118"/>
            <a:ext cx="214313" cy="678401"/>
          </a:xfrm>
          <a:prstGeom prst="rightBrace">
            <a:avLst>
              <a:gd name="adj1" fmla="val 31026"/>
              <a:gd name="adj2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pitchFamily="48" charset="-128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649DAB35-53A7-4C2A-B4E4-3D70A6215548}"/>
              </a:ext>
            </a:extLst>
          </p:cNvPr>
          <p:cNvSpPr txBox="1"/>
          <p:nvPr/>
        </p:nvSpPr>
        <p:spPr bwMode="auto">
          <a:xfrm>
            <a:off x="8058150" y="3718640"/>
            <a:ext cx="167259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600"/>
              </a:spcAft>
              <a:buClr>
                <a:schemeClr val="tx1"/>
              </a:buClr>
            </a:pPr>
            <a:r>
              <a:rPr lang="en-GB" sz="1600" b="0" kern="0">
                <a:solidFill>
                  <a:srgbClr val="000000"/>
                </a:solidFill>
                <a:latin typeface="+mn-lt"/>
                <a:ea typeface="+mn-ea"/>
              </a:rPr>
              <a:t>Fossil Fuel</a:t>
            </a:r>
          </a:p>
        </p:txBody>
      </p:sp>
      <p:graphicFrame>
        <p:nvGraphicFramePr>
          <p:cNvPr id="103" name="Chart 102">
            <a:extLst>
              <a:ext uri="{FF2B5EF4-FFF2-40B4-BE49-F238E27FC236}">
                <a16:creationId xmlns:a16="http://schemas.microsoft.com/office/drawing/2014/main" id="{690854B2-2C8C-4E72-829C-4AB86E22BA98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11113" y="1222375"/>
          <a:ext cx="6588125" cy="3097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241" name="Rectangle 240">
            <a:extLst>
              <a:ext uri="{FF2B5EF4-FFF2-40B4-BE49-F238E27FC236}">
                <a16:creationId xmlns:a16="http://schemas.microsoft.com/office/drawing/2014/main" id="{5397823B-D7F3-4D49-B4A1-30677383419A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1512888" y="4256088"/>
            <a:ext cx="2159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05C19D45-CCE5-4EDA-8F35-83013AAAAB1C}" type="datetime'''''''''''''Q''''''''''''''''2''''''&#10;1''''''''''''''''''''9'''">
              <a:rPr lang="en-GB" altLang="en-US" sz="1200" smtClean="0">
                <a:cs typeface="+mn-cs"/>
              </a:rPr>
              <a:pPr lvl="1" algn="ctr">
                <a:spcAft>
                  <a:spcPct val="0"/>
                </a:spcAft>
              </a:pPr>
              <a:t>Q2
19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2101C357-E9E0-4185-B53B-429D5F78D31F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2817813" y="4256088"/>
            <a:ext cx="2159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72BA14D5-A06B-4068-88A7-991E17EB7086}" type="datetime'''''''''''''''''Q''''''4''''''''''''''''''''&#10;''''19'''''''">
              <a:rPr lang="en-GB" altLang="en-US" sz="1200" smtClean="0">
                <a:cs typeface="+mn-cs"/>
              </a:rPr>
              <a:pPr lvl="1" algn="ctr">
                <a:spcAft>
                  <a:spcPct val="0"/>
                </a:spcAft>
              </a:pPr>
              <a:t>Q4
19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A1011E0E-62AD-46C0-8586-82850FC23825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795338" y="3451225"/>
            <a:ext cx="347663" cy="1825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4DEF749C-5110-427E-8234-3CE267EFE6BE}" type="datetime'''''''''''''''4''''''0''''''''''''''''''''''%'">
              <a:rPr lang="en-GB" altLang="en-US" sz="1200" smtClean="0">
                <a:cs typeface="+mn-cs"/>
              </a:rPr>
              <a:pPr lvl="1" algn="ctr">
                <a:spcAft>
                  <a:spcPct val="0"/>
                </a:spcAft>
              </a:pPr>
              <a:t>40%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077D5802-73EC-4AA8-ADF4-86436AF00161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100263" y="3576638"/>
            <a:ext cx="347663" cy="1825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A102FA21-8D03-47FD-8664-EC1F1F3BD63A}" type="datetime'''''''''''''''3''''''''''6%'''''''''''''''''''''''''''''''">
              <a:rPr lang="en-GB" altLang="en-US" sz="1200" smtClean="0">
                <a:cs typeface="+mn-cs"/>
              </a:rPr>
              <a:pPr lvl="1" algn="ctr">
                <a:spcAft>
                  <a:spcPct val="0"/>
                </a:spcAft>
              </a:pPr>
              <a:t>36%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202EDFE6-9345-4C03-96AD-E4269222F542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860425" y="4256088"/>
            <a:ext cx="2159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1749BAFF-728A-4468-A4B0-292F98FD77B6}" type="datetime'''''''Q''''''1''&#10;''1''''''''9'''''''''''">
              <a:rPr lang="en-GB" altLang="en-US" sz="1200" smtClean="0">
                <a:cs typeface="+mn-cs"/>
              </a:rPr>
              <a:pPr lvl="1" algn="ctr">
                <a:spcAft>
                  <a:spcPct val="0"/>
                </a:spcAft>
              </a:pPr>
              <a:t>Q1
19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931AA27C-8D5E-4777-8350-E475ED48FB93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1447800" y="3524250"/>
            <a:ext cx="347663" cy="1825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583E847D-72B3-4602-ADA5-42ED0927E26C}" type="datetime'''''''''''''''4''''''0''''''''%'''''''''">
              <a:rPr lang="en-GB" altLang="en-US" sz="1200" smtClean="0">
                <a:cs typeface="+mn-cs"/>
              </a:rPr>
              <a:pPr lvl="1" algn="ctr">
                <a:spcAft>
                  <a:spcPct val="0"/>
                </a:spcAft>
              </a:pPr>
              <a:t>40%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E8ED7DA8-3FD2-4CA4-945A-E4467FAEC01C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2165350" y="4256088"/>
            <a:ext cx="2159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3515F778-01A9-409E-8C3A-04595CFF1AC3}" type="datetime'''''Q''''3''''''''''&#10;''''''''''''''''''''''''''1''''9'">
              <a:rPr lang="en-GB" altLang="en-US" sz="1200" smtClean="0">
                <a:cs typeface="+mn-cs"/>
              </a:rPr>
              <a:pPr lvl="1" algn="ctr">
                <a:spcAft>
                  <a:spcPct val="0"/>
                </a:spcAft>
              </a:pPr>
              <a:t>Q3
19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79CCCE4B-6860-4846-AB8B-838DC87A318F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2752725" y="3503613"/>
            <a:ext cx="347663" cy="1825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F538CFF0-5141-4BD2-B12F-8BEBF24EBB81}" type="datetime'''3''7''''''''''''''''''''''''''''''''''''''''%'''''''''''">
              <a:rPr lang="en-GB" altLang="en-US" sz="1200" smtClean="0">
                <a:cs typeface="+mn-cs"/>
              </a:rPr>
              <a:pPr lvl="1" algn="ctr">
                <a:spcAft>
                  <a:spcPct val="0"/>
                </a:spcAft>
              </a:pPr>
              <a:t>37%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D54F9986-7323-4F49-B325-75EA6CA80C93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4059238" y="3581400"/>
            <a:ext cx="347663" cy="1825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5FE86494-6AD9-4D1F-8656-1CF3D3132E4D}" type="datetime'''''''''3''''''''''''''''''''''''''''''0%'''''''''''''''''''''">
              <a:rPr lang="en-GB" altLang="en-US" sz="1200" smtClean="0">
                <a:cs typeface="+mn-cs"/>
              </a:rPr>
              <a:pPr lvl="1" algn="ctr">
                <a:spcAft>
                  <a:spcPct val="0"/>
                </a:spcAft>
              </a:pPr>
              <a:t>30%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FCE664B-C597-4777-9798-DA3B2A7AA0EC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4124325" y="4256088"/>
            <a:ext cx="2159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0A44E624-D208-4239-A6F1-813D68263904}" type="datetime'''''''''''''''''''''''Q''''''''''''1&#10;''''20'''''''''''''''''">
              <a:rPr lang="en-GB" altLang="en-US" sz="1200" smtClean="0">
                <a:cs typeface="+mn-cs"/>
              </a:rPr>
              <a:pPr lvl="1" algn="ctr">
                <a:spcAft>
                  <a:spcPct val="0"/>
                </a:spcAft>
              </a:pPr>
              <a:t>Q1
20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9D80254D-FE53-448D-A7AB-079B1BD0B0FD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4711700" y="3657600"/>
            <a:ext cx="347663" cy="1825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5D08AD1A-BFA5-4AD1-BFD7-3CCC065EC8CD}" type="datetime'''''3''1%'''''''''''''">
              <a:rPr lang="en-GB" altLang="en-US" sz="1200" smtClean="0">
                <a:cs typeface="+mn-cs"/>
              </a:rPr>
              <a:pPr lvl="1" algn="ctr">
                <a:spcAft>
                  <a:spcPct val="0"/>
                </a:spcAft>
              </a:pPr>
              <a:t>31%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DD70D806-AE7D-4EB2-882C-E642A8210238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4776788" y="4256088"/>
            <a:ext cx="2159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F527A805-46A3-4738-A60A-81FE6F9B995A}" type="datetime'''''''''''''Q''''2''''''''&#10;''''''''2''''''''''0'''''''''''''">
              <a:rPr lang="en-GB" altLang="en-US" sz="1200" smtClean="0">
                <a:cs typeface="+mn-cs"/>
              </a:rPr>
              <a:pPr lvl="1" algn="ctr">
                <a:spcAft>
                  <a:spcPct val="0"/>
                </a:spcAft>
              </a:pPr>
              <a:t>Q2
20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1C0B80A6-A3DF-4CA4-8F63-F0AF879F74FA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5364163" y="3522663"/>
            <a:ext cx="347663" cy="1825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F0FD3B41-5489-47FC-BC39-8091075C5A92}" type="datetime'''''''''''''''''''''''''4''''''0''''%'''''''''''''''''''">
              <a:rPr lang="en-GB" altLang="en-US" sz="1200" smtClean="0">
                <a:cs typeface="+mn-cs"/>
              </a:rPr>
              <a:pPr lvl="1" algn="ctr">
                <a:spcAft>
                  <a:spcPct val="0"/>
                </a:spcAft>
              </a:pPr>
              <a:t>40%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85E7A9B9-D50C-4E4C-B329-A32C5C2A37B1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5429250" y="4256088"/>
            <a:ext cx="2159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EF96B9FE-5D7F-4D44-8C5D-CA5B0A0CE091}" type="datetime'''''''Q''3''''&#10;''''''''''''2''''''0'''''''''">
              <a:rPr lang="en-GB" altLang="en-US" sz="1200" smtClean="0">
                <a:cs typeface="+mn-cs"/>
              </a:rPr>
              <a:pPr lvl="1" algn="ctr">
                <a:spcAft>
                  <a:spcPct val="0"/>
                </a:spcAft>
              </a:pPr>
              <a:t>Q3
20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2A4A27AE-F3A0-43A4-8B7B-EC2EA8B84608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6016625" y="3570288"/>
            <a:ext cx="347663" cy="1825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1047176F-589B-4915-B168-F9D938075891}" type="datetime'3''''''''''''''''''5%'''''''''''''''''''''''''">
              <a:rPr lang="en-GB" altLang="en-US" sz="1200" smtClean="0">
                <a:cs typeface="+mn-cs"/>
              </a:rPr>
              <a:pPr lvl="1" algn="ctr">
                <a:spcAft>
                  <a:spcPct val="0"/>
                </a:spcAft>
              </a:pPr>
              <a:t>35%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1E42A8B3-285E-4975-B38C-BEB7B394C057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6081713" y="4256088"/>
            <a:ext cx="2159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73F1FE35-A433-4566-AB51-4075D968BC21}" type="datetime'Q''''4''''&#10;''''2''''''''''''''''0'''''''''''''''''''''''">
              <a:rPr lang="en-GB" altLang="en-US" sz="1200" smtClean="0">
                <a:cs typeface="+mn-cs"/>
              </a:rPr>
              <a:pPr lvl="1" algn="ctr">
                <a:spcAft>
                  <a:spcPct val="0"/>
                </a:spcAft>
              </a:pPr>
              <a:t>Q4
20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522F116E-5840-497A-AB3E-C817B1DFBFD2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6577013" y="2100263"/>
            <a:ext cx="214313" cy="160338"/>
          </a:xfrm>
          <a:prstGeom prst="rect">
            <a:avLst/>
          </a:prstGeom>
          <a:solidFill>
            <a:srgbClr val="BBFA9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GB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A1A9F22E-8CFE-4BD6-966A-BD2961D5131A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577013" y="1633538"/>
            <a:ext cx="214313" cy="160338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GB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260" name="Rectangle 259">
            <a:extLst>
              <a:ext uri="{FF2B5EF4-FFF2-40B4-BE49-F238E27FC236}">
                <a16:creationId xmlns:a16="http://schemas.microsoft.com/office/drawing/2014/main" id="{769930EA-B4E1-447E-8D24-6FEB7A5906A6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6577013" y="1400175"/>
            <a:ext cx="214313" cy="16033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GB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711DC3B8-D3E5-4DAF-B3FE-12841283BFBC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6577013" y="1866900"/>
            <a:ext cx="214313" cy="160338"/>
          </a:xfrm>
          <a:prstGeom prst="rect">
            <a:avLst/>
          </a:prstGeom>
          <a:solidFill>
            <a:srgbClr val="C0C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GB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DD03BD53-2702-43F2-8472-24165DF2F08D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6577013" y="2566988"/>
            <a:ext cx="214313" cy="160338"/>
          </a:xfrm>
          <a:prstGeom prst="rect">
            <a:avLst/>
          </a:prstGeom>
          <a:solidFill>
            <a:srgbClr val="87F53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GB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24BB51FD-3EC1-4E1F-A037-799942BAD82D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6577013" y="2333625"/>
            <a:ext cx="214313" cy="160338"/>
          </a:xfrm>
          <a:prstGeom prst="rect">
            <a:avLst/>
          </a:prstGeom>
          <a:solidFill>
            <a:srgbClr val="94F55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GB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9B1923FC-0FF2-410C-A7F8-9FFACCDC2CCD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6577013" y="2800350"/>
            <a:ext cx="214313" cy="160338"/>
          </a:xfrm>
          <a:prstGeom prst="rect">
            <a:avLst/>
          </a:prstGeom>
          <a:solidFill>
            <a:srgbClr val="7DF22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GB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94F270FB-B6EF-4CFD-86FC-A662919425BA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6577013" y="3967163"/>
            <a:ext cx="214313" cy="160338"/>
          </a:xfrm>
          <a:prstGeom prst="rect">
            <a:avLst/>
          </a:prstGeom>
          <a:solidFill>
            <a:srgbClr val="0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GB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BB1044DD-BDB8-4FA6-9FA2-5EBA2EFBDD24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6577013" y="3033713"/>
            <a:ext cx="214313" cy="160338"/>
          </a:xfrm>
          <a:prstGeom prst="rect">
            <a:avLst/>
          </a:prstGeom>
          <a:solidFill>
            <a:srgbClr val="5FD90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GB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267" name="Rectangle 266">
            <a:extLst>
              <a:ext uri="{FF2B5EF4-FFF2-40B4-BE49-F238E27FC236}">
                <a16:creationId xmlns:a16="http://schemas.microsoft.com/office/drawing/2014/main" id="{ACF5E208-9FD4-4B1B-AD47-D34DE0DDDAE9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6577013" y="3267075"/>
            <a:ext cx="214313" cy="160338"/>
          </a:xfrm>
          <a:prstGeom prst="rect">
            <a:avLst/>
          </a:prstGeom>
          <a:solidFill>
            <a:srgbClr val="00777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GB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26471546-5E5A-4100-B7B7-141CFF954639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6577013" y="3500438"/>
            <a:ext cx="214313" cy="160338"/>
          </a:xfrm>
          <a:prstGeom prst="rect">
            <a:avLst/>
          </a:prstGeom>
          <a:solidFill>
            <a:srgbClr val="78787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GB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269" name="Rectangle 268">
            <a:extLst>
              <a:ext uri="{FF2B5EF4-FFF2-40B4-BE49-F238E27FC236}">
                <a16:creationId xmlns:a16="http://schemas.microsoft.com/office/drawing/2014/main" id="{3D4712D3-C335-4510-8198-E43FC7B5E6C8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6577013" y="3733800"/>
            <a:ext cx="214313" cy="160338"/>
          </a:xfrm>
          <a:prstGeom prst="rect">
            <a:avLst/>
          </a:prstGeom>
          <a:pattFill prst="ltUpDiag">
            <a:fgClr>
              <a:schemeClr val="tx1"/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GB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321C860D-46F2-422C-9A19-7CFF0EAC1E33}"/>
              </a:ext>
            </a:extLst>
          </p:cNvPr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6842125" y="1395413"/>
            <a:ext cx="508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9D339B29-101F-43E5-832E-B6F6C1F513D0}" type="datetime'''I''m''''''''''''''p''''''o''r''''''t''''s'''''''''''''">
              <a:rPr lang="en-GB" altLang="en-US" sz="1200" smtClean="0">
                <a:cs typeface="+mn-cs"/>
              </a:rPr>
              <a:pPr lvl="1">
                <a:spcAft>
                  <a:spcPct val="0"/>
                </a:spcAft>
              </a:pPr>
              <a:t>Imports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D7FA8604-E9C2-4470-AF77-2FD9CA7E0A81}"/>
              </a:ext>
            </a:extLst>
          </p:cNvPr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6842125" y="1862138"/>
            <a:ext cx="5826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38DA7A76-BF84-4FF9-81D3-8F679744580A}" type="datetime'''''''B''''''''''''''''''i''o''ma''''''''''''s''''''''''s'''">
              <a:rPr lang="en-GB" altLang="en-US" sz="1200" smtClean="0">
                <a:cs typeface="+mn-cs"/>
              </a:rPr>
              <a:pPr lvl="1">
                <a:spcAft>
                  <a:spcPct val="0"/>
                </a:spcAft>
              </a:pPr>
              <a:t>Biomass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F698F17E-AA83-4EFB-B6ED-7201D07DF094}"/>
              </a:ext>
            </a:extLst>
          </p:cNvPr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6842125" y="1628775"/>
            <a:ext cx="4318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B7D1CAFD-A977-4BF0-B4AE-A6E6B64C871E}" type="datetime'W''''a''''''s''''''''''''''t''''e'''''''''''''''">
              <a:rPr lang="en-GB" altLang="en-US" sz="1200" smtClean="0">
                <a:cs typeface="+mn-cs"/>
              </a:rPr>
              <a:pPr lvl="1">
                <a:spcAft>
                  <a:spcPct val="0"/>
                </a:spcAft>
              </a:pPr>
              <a:t>Waste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D4CE5443-AE5E-45E7-BC80-F593445257B1}"/>
              </a:ext>
            </a:extLst>
          </p:cNvPr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6842125" y="2095500"/>
            <a:ext cx="7366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4A3902AB-4F22-4BBB-A160-8434431702DB}" type="datetime'O''''''''t''''''''''h''e''''r R''''''E''''''''S'''''''''''''''">
              <a:rPr lang="en-GB" altLang="en-US" sz="1200" smtClean="0">
                <a:cs typeface="+mn-cs"/>
              </a:rPr>
              <a:pPr lvl="1">
                <a:spcAft>
                  <a:spcPct val="0"/>
                </a:spcAft>
              </a:pPr>
              <a:t>Other RES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51B57C68-AE94-4B6D-833C-0CDA213182F8}"/>
              </a:ext>
            </a:extLst>
          </p:cNvPr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6842125" y="2328863"/>
            <a:ext cx="5318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C659FA73-FC0B-4743-A414-FF7B16B5DB6D}" type="datetime'''''''''S''''''''''''t''or''''''''''''''ag''''''e'''''">
              <a:rPr lang="en-GB" altLang="en-US" sz="1200" smtClean="0">
                <a:cs typeface="+mn-cs"/>
              </a:rPr>
              <a:pPr lvl="1">
                <a:spcAft>
                  <a:spcPct val="0"/>
                </a:spcAft>
              </a:pPr>
              <a:t>Storage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277" name="Rectangle 276">
            <a:extLst>
              <a:ext uri="{FF2B5EF4-FFF2-40B4-BE49-F238E27FC236}">
                <a16:creationId xmlns:a16="http://schemas.microsoft.com/office/drawing/2014/main" id="{A505B3BD-B968-4B5A-9938-8DC85F098038}"/>
              </a:ext>
            </a:extLst>
          </p:cNvPr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6842125" y="2562225"/>
            <a:ext cx="4048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3E05EBEA-9617-4A38-9C78-EC4D91B281F2}" type="datetime'H''''''y''''''''d''r''''''''''''''''''o'''''''''''''''''">
              <a:rPr lang="en-GB" altLang="en-US" sz="1200" smtClean="0">
                <a:cs typeface="+mn-cs"/>
              </a:rPr>
              <a:pPr lvl="1">
                <a:spcAft>
                  <a:spcPct val="0"/>
                </a:spcAft>
              </a:pPr>
              <a:t>Hydro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278" name="Rectangle 277">
            <a:extLst>
              <a:ext uri="{FF2B5EF4-FFF2-40B4-BE49-F238E27FC236}">
                <a16:creationId xmlns:a16="http://schemas.microsoft.com/office/drawing/2014/main" id="{519300E6-2CB9-4F55-8C99-FD293BB98445}"/>
              </a:ext>
            </a:extLst>
          </p:cNvPr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6842125" y="2795588"/>
            <a:ext cx="3540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99A62469-0595-4B1C-8F17-6A8ED4D43F55}" type="datetime'''''S''''''o''''''''''l''a''''''''''''''''''''r'''">
              <a:rPr lang="en-GB" altLang="en-US" sz="1200" smtClean="0">
                <a:cs typeface="+mn-cs"/>
              </a:rPr>
              <a:pPr lvl="1">
                <a:spcAft>
                  <a:spcPct val="0"/>
                </a:spcAft>
              </a:pPr>
              <a:t>Solar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B85557C7-F8CC-42DE-8107-5EEEBAC98B1D}"/>
              </a:ext>
            </a:extLst>
          </p:cNvPr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6842125" y="3028950"/>
            <a:ext cx="3460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080D438A-34A3-4515-A582-4537A6B5BE1E}" type="datetime'''Wind'">
              <a:rPr lang="en-GB" altLang="en-US" sz="1200" smtClean="0">
                <a:cs typeface="+mn-cs"/>
              </a:rPr>
              <a:pPr lvl="1">
                <a:spcAft>
                  <a:spcPct val="0"/>
                </a:spcAft>
              </a:pPr>
              <a:t>Wind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280" name="Rectangle 279">
            <a:extLst>
              <a:ext uri="{FF2B5EF4-FFF2-40B4-BE49-F238E27FC236}">
                <a16:creationId xmlns:a16="http://schemas.microsoft.com/office/drawing/2014/main" id="{D8984FBC-8AF3-4A2C-AF94-126F201F0478}"/>
              </a:ext>
            </a:extLst>
          </p:cNvPr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6842125" y="3262313"/>
            <a:ext cx="5222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73B37F18-9842-42C9-9E37-9711DA23748B}" type="datetime'''N''''''''''''''u''c''''''''''''''''''l''''''''''''ea''''r'''">
              <a:rPr lang="en-GB" altLang="en-US" sz="1200" smtClean="0">
                <a:cs typeface="+mn-cs"/>
              </a:rPr>
              <a:pPr lvl="1">
                <a:spcAft>
                  <a:spcPct val="0"/>
                </a:spcAft>
              </a:pPr>
              <a:t>Nuclear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A9237AAE-F671-497A-A1B0-5079CAA857C8}"/>
              </a:ext>
            </a:extLst>
          </p:cNvPr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auto">
          <a:xfrm>
            <a:off x="6842125" y="3495675"/>
            <a:ext cx="8207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884FA158-30CE-4383-861F-C4B02E7548A8}" type="datetime'O''''th''e''''''''''r'''''' Fo''''''''''''''''s''''s''i''l'">
              <a:rPr lang="en-GB" altLang="en-US" sz="1200" smtClean="0">
                <a:cs typeface="+mn-cs"/>
              </a:rPr>
              <a:pPr lvl="1">
                <a:spcAft>
                  <a:spcPct val="0"/>
                </a:spcAft>
              </a:pPr>
              <a:t>Other Fossil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97EB5A80-6BE2-4800-AD8D-74A8CC7AF211}"/>
              </a:ext>
            </a:extLst>
          </p:cNvPr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auto">
          <a:xfrm>
            <a:off x="6842125" y="3729038"/>
            <a:ext cx="2794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89CE8BB8-078A-452B-86E8-160153090371}" type="datetime'''''''''''''''''''G''''''''''''''''''''a''''''''''''''''''s'''">
              <a:rPr lang="en-GB" altLang="en-US" sz="1200" smtClean="0">
                <a:cs typeface="+mn-cs"/>
              </a:rPr>
              <a:pPr lvl="1">
                <a:spcAft>
                  <a:spcPct val="0"/>
                </a:spcAft>
              </a:pPr>
              <a:t>Gas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8C78FF11-FBC9-4911-83EB-173BB5E3CD02}"/>
              </a:ext>
            </a:extLst>
          </p:cNvPr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auto">
          <a:xfrm>
            <a:off x="6842125" y="3962400"/>
            <a:ext cx="3111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EC44F042-B7BE-4344-AA1C-4CF1BCF3FD57}" type="datetime'''''''''''''C''''''''''''''o''''''''''''''''a''l'''''''''''">
              <a:rPr lang="en-GB" altLang="en-US" sz="1200" smtClean="0">
                <a:cs typeface="+mn-cs"/>
              </a:rPr>
              <a:pPr lvl="1">
                <a:spcAft>
                  <a:spcPct val="0"/>
                </a:spcAft>
              </a:pPr>
              <a:t>Coal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59" name="Title 2">
            <a:extLst>
              <a:ext uri="{FF2B5EF4-FFF2-40B4-BE49-F238E27FC236}">
                <a16:creationId xmlns:a16="http://schemas.microsoft.com/office/drawing/2014/main" id="{B7F5DFE9-CCCC-4446-9E72-3979417D91B8}"/>
              </a:ext>
            </a:extLst>
          </p:cNvPr>
          <p:cNvSpPr txBox="1">
            <a:spLocks/>
          </p:cNvSpPr>
          <p:nvPr/>
        </p:nvSpPr>
        <p:spPr bwMode="auto">
          <a:xfrm>
            <a:off x="150350" y="189594"/>
            <a:ext cx="8473350" cy="65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342866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685732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028598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371464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>
              <a:buClrTx/>
            </a:pPr>
            <a:r>
              <a:rPr lang="en-GB" sz="2000" dirty="0"/>
              <a:t>Example- </a:t>
            </a:r>
            <a:r>
              <a:rPr lang="en-GB" sz="2000" b="0" dirty="0"/>
              <a:t>Breakdown of GB power consumption</a:t>
            </a:r>
            <a:endParaRPr lang="en-GB" sz="20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A924AA4-46AB-4168-817C-47678E7357F8}"/>
              </a:ext>
            </a:extLst>
          </p:cNvPr>
          <p:cNvSpPr txBox="1"/>
          <p:nvPr/>
        </p:nvSpPr>
        <p:spPr bwMode="auto">
          <a:xfrm>
            <a:off x="5835424" y="638866"/>
            <a:ext cx="2535690" cy="36933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200" kern="0" dirty="0">
                <a:solidFill>
                  <a:schemeClr val="tx1"/>
                </a:solidFill>
                <a:latin typeface="+mn-lt"/>
                <a:ea typeface="+mn-ea"/>
              </a:rPr>
              <a:t>Categorisation of energy sources as given in the data</a:t>
            </a:r>
          </a:p>
        </p:txBody>
      </p:sp>
    </p:spTree>
    <p:extLst>
      <p:ext uri="{BB962C8B-B14F-4D97-AF65-F5344CB8AC3E}">
        <p14:creationId xmlns:p14="http://schemas.microsoft.com/office/powerpoint/2010/main" val="32683108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3827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ct val="0"/>
              </a:spcAft>
            </a:pPr>
            <a:endParaRPr lang="en-GB" sz="1200" b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45673D51-75F5-4886-9A0E-36D09AE9C6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08414" y="4719220"/>
            <a:ext cx="6429696" cy="169277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en-US" sz="1100" kern="1200" dirty="0">
                <a:solidFill>
                  <a:schemeClr val="tx1"/>
                </a:solidFill>
              </a:rPr>
              <a:t>Source: </a:t>
            </a:r>
            <a:r>
              <a:rPr lang="en-US" sz="1100" kern="1200" dirty="0" err="1">
                <a:solidFill>
                  <a:schemeClr val="tx1"/>
                </a:solidFill>
              </a:rPr>
              <a:t>Elexon</a:t>
            </a:r>
            <a:r>
              <a:rPr lang="en-US" sz="1100" kern="1200" dirty="0">
                <a:solidFill>
                  <a:schemeClr val="tx1"/>
                </a:solidFill>
              </a:rPr>
              <a:t>, </a:t>
            </a:r>
            <a:r>
              <a:rPr lang="en-US" sz="1100" kern="1200" dirty="0" err="1">
                <a:solidFill>
                  <a:schemeClr val="tx1"/>
                </a:solidFill>
              </a:rPr>
              <a:t>ENTSOe</a:t>
            </a:r>
            <a:r>
              <a:rPr lang="en-US" sz="1100" kern="1200" dirty="0">
                <a:solidFill>
                  <a:schemeClr val="tx1"/>
                </a:solidFill>
              </a:rPr>
              <a:t>, Electricity Map</a:t>
            </a:r>
            <a:endParaRPr lang="en-US" sz="1100" b="0" dirty="0">
              <a:solidFill>
                <a:schemeClr val="tx1"/>
              </a:solidFill>
            </a:endParaRPr>
          </a:p>
        </p:txBody>
      </p:sp>
      <p:graphicFrame>
        <p:nvGraphicFramePr>
          <p:cNvPr id="101" name="Chart 100">
            <a:extLst>
              <a:ext uri="{FF2B5EF4-FFF2-40B4-BE49-F238E27FC236}">
                <a16:creationId xmlns:a16="http://schemas.microsoft.com/office/drawing/2014/main" id="{4B541996-84ED-48C7-A14E-17B7988E1158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42406096"/>
              </p:ext>
            </p:extLst>
          </p:nvPr>
        </p:nvGraphicFramePr>
        <p:xfrm>
          <a:off x="0" y="1198563"/>
          <a:ext cx="5746750" cy="3198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B106F73-0993-4DE4-A9FF-5E612ADC5B92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187450" y="1403350"/>
            <a:ext cx="0" cy="24606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0B36F17-3249-470C-B9CD-75DA895AF907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062413" y="1403350"/>
            <a:ext cx="0" cy="242888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CAA25322-622D-4AE6-B692-AC80D89BA2B7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754063" y="2881313"/>
            <a:ext cx="474663" cy="182563"/>
          </a:xfrm>
          <a:prstGeom prst="rect">
            <a:avLst/>
          </a:prstGeom>
          <a:solidFill>
            <a:srgbClr val="5FAB1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717B0983-981C-4C1E-9B74-E64E3090785D}" type="datetime'''''''''''''''''''''91''''''''''''''''''''''.8''''''''%'''''">
              <a:rPr lang="en-GB" altLang="en-US" sz="1200" smtClean="0">
                <a:solidFill>
                  <a:schemeClr val="bg1"/>
                </a:solidFill>
                <a:cs typeface="+mn-cs"/>
                <a:sym typeface="+mn-lt"/>
              </a:rPr>
              <a:pPr lvl="1" algn="ctr">
                <a:spcAft>
                  <a:spcPct val="0"/>
                </a:spcAft>
              </a:pPr>
              <a:t>91.8%</a:t>
            </a:fld>
            <a:endParaRPr lang="en-GB" sz="1200" dirty="0">
              <a:solidFill>
                <a:schemeClr val="bg1"/>
              </a:solidFill>
              <a:cs typeface="+mn-cs"/>
              <a:sym typeface="+mn-lt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825E092A-9BF9-41BF-87FB-D25237CD6460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92075" y="1033463"/>
            <a:ext cx="20764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r>
              <a:rPr lang="en-GB" altLang="en-US" sz="1200" b="1" dirty="0">
                <a:cs typeface="+mn-cs"/>
                <a:sym typeface="+mn-lt"/>
              </a:rPr>
              <a:t>Total interconnector imports</a:t>
            </a:r>
            <a:endParaRPr lang="en-GB" sz="1200" b="1" dirty="0">
              <a:cs typeface="+mn-cs"/>
              <a:sym typeface="+mn-lt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448F0900-D26E-48EE-A01D-E0862EED85EA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1474788" y="4333875"/>
            <a:ext cx="4699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575E5443-88B8-4D2A-A627-736784D483D1}" type="datetime'''''''NE''''''''''MO''''&#10;''''1''''''''''''''''''''9'''">
              <a:rPr lang="en-GB" altLang="en-US" sz="1200" smtClean="0">
                <a:cs typeface="+mn-cs"/>
              </a:rPr>
              <a:pPr/>
              <a:t>NEMO
19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9E0F35DC-8397-4AC7-8B0D-F6C00161566A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865188" y="4333875"/>
            <a:ext cx="2508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E71513DD-3733-4CA2-B800-F509C5493FC1}" type="datetime'''''''''''''''''''''''''''''''''''''''I''''F''''''''''''''''A'">
              <a:rPr lang="en-GB" altLang="en-US" sz="1200" smtClean="0">
                <a:cs typeface="+mn-cs"/>
                <a:sym typeface="+mn-lt"/>
              </a:rPr>
              <a:pPr lvl="1" algn="ctr">
                <a:spcAft>
                  <a:spcPct val="0"/>
                </a:spcAft>
              </a:pPr>
              <a:t>IFA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CA519A80-D55C-489C-BF11-F78F37628F38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3740150" y="4333875"/>
            <a:ext cx="2508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D9C08178-0B57-4AD3-ADBD-4355960D6404}" type="datetime'''''''''''''''''''IF''''''''''''''''''''A'''''''''">
              <a:rPr lang="en-GB" altLang="en-US" sz="1200" smtClean="0">
                <a:cs typeface="+mn-cs"/>
                <a:sym typeface="+mn-lt"/>
              </a:rPr>
              <a:pPr lvl="1" algn="ctr">
                <a:spcAft>
                  <a:spcPct val="0"/>
                </a:spcAft>
              </a:pPr>
              <a:t>IFA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4E484D0-45A9-463B-A012-4F37C452E8DC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1473200" y="3271838"/>
            <a:ext cx="474663" cy="182563"/>
          </a:xfrm>
          <a:prstGeom prst="rect">
            <a:avLst/>
          </a:prstGeom>
          <a:solidFill>
            <a:srgbClr val="5FAB1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5D9A0491-826C-4FE9-AD22-75624B46DC39}" type="datetime'''''''''6''''4''.''''5''''''''''%'''">
              <a:rPr lang="en-GB" altLang="en-US" sz="1200" smtClean="0">
                <a:solidFill>
                  <a:schemeClr val="bg1"/>
                </a:solidFill>
                <a:cs typeface="+mn-cs"/>
                <a:sym typeface="+mn-lt"/>
              </a:rPr>
              <a:pPr lvl="1" algn="ctr">
                <a:spcAft>
                  <a:spcPct val="0"/>
                </a:spcAft>
              </a:pPr>
              <a:t>64.5%</a:t>
            </a:fld>
            <a:endParaRPr lang="en-GB" sz="1200" dirty="0">
              <a:solidFill>
                <a:schemeClr val="bg1"/>
              </a:solidFill>
              <a:cs typeface="+mn-cs"/>
              <a:sym typeface="+mn-lt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C38D865-A73B-47FF-9E30-E6BD835158E4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2192338" y="3951288"/>
            <a:ext cx="474663" cy="182563"/>
          </a:xfrm>
          <a:prstGeom prst="rect">
            <a:avLst/>
          </a:prstGeom>
          <a:solidFill>
            <a:srgbClr val="5FAB1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1DF81EA6-189F-450F-A5F4-45254BB91B77}" type="datetime'''''''''''''''''''''''1''''''6''''''''''''''''''''.''9''''''%'">
              <a:rPr lang="en-GB" altLang="en-US" sz="1200" smtClean="0">
                <a:solidFill>
                  <a:schemeClr val="bg1"/>
                </a:solidFill>
                <a:cs typeface="+mn-cs"/>
                <a:sym typeface="+mn-lt"/>
              </a:rPr>
              <a:pPr lvl="1" algn="ctr">
                <a:spcAft>
                  <a:spcPct val="0"/>
                </a:spcAft>
              </a:pPr>
              <a:t>16.9%</a:t>
            </a:fld>
            <a:endParaRPr lang="en-GB" sz="1200" dirty="0">
              <a:solidFill>
                <a:schemeClr val="bg1"/>
              </a:solidFill>
              <a:cs typeface="+mn-cs"/>
              <a:sym typeface="+mn-lt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E1839401-C2CB-4AAD-8D8B-C38EDCB46C77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2170113" y="4333875"/>
            <a:ext cx="5191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3C9DAD68-E078-4ECE-BD83-D746C3A9152B}" type="datetime'B''ri''''''''''''''t''''''''''N''e''''''d'''''''''''">
              <a:rPr lang="en-GB" altLang="en-US" sz="1200" smtClean="0">
                <a:cs typeface="+mn-cs"/>
              </a:rPr>
              <a:pPr lvl="1" algn="ctr">
                <a:spcAft>
                  <a:spcPct val="0"/>
                </a:spcAft>
              </a:pPr>
              <a:t>BritNed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2339858-AAD6-4B90-B285-5515299301DF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3629025" y="2879725"/>
            <a:ext cx="474663" cy="182563"/>
          </a:xfrm>
          <a:prstGeom prst="rect">
            <a:avLst/>
          </a:prstGeom>
          <a:solidFill>
            <a:srgbClr val="5FAB1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B7FDFCC8-49FE-444B-80A0-2397585D3F62}" type="datetime'''''''''''''''9''''''1''.9''''''''''''''''%'''''''''''''">
              <a:rPr lang="en-GB" altLang="en-US" sz="1200" smtClean="0">
                <a:solidFill>
                  <a:schemeClr val="bg1"/>
                </a:solidFill>
                <a:cs typeface="+mn-cs"/>
                <a:sym typeface="+mn-lt"/>
              </a:rPr>
              <a:pPr lvl="1" algn="ctr">
                <a:spcAft>
                  <a:spcPct val="0"/>
                </a:spcAft>
              </a:pPr>
              <a:t>91.9%</a:t>
            </a:fld>
            <a:endParaRPr lang="en-GB" sz="1200" dirty="0">
              <a:solidFill>
                <a:schemeClr val="bg1"/>
              </a:solidFill>
              <a:cs typeface="+mn-cs"/>
              <a:sym typeface="+mn-lt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EA25B9B-9898-41DD-A0F9-A30A2EFD56F3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4348163" y="3305175"/>
            <a:ext cx="474663" cy="182563"/>
          </a:xfrm>
          <a:prstGeom prst="rect">
            <a:avLst/>
          </a:prstGeom>
          <a:solidFill>
            <a:srgbClr val="5FAB1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04169DFC-76B1-4664-A86A-A4B02B139A93}" type="datetime'''''''''''''''''''''''''6''''''''''2''''''''''''''.1%'''''''''">
              <a:rPr lang="en-GB" altLang="en-US" sz="1200" smtClean="0">
                <a:solidFill>
                  <a:schemeClr val="bg1"/>
                </a:solidFill>
                <a:cs typeface="+mn-cs"/>
                <a:sym typeface="+mn-lt"/>
              </a:rPr>
              <a:pPr lvl="1" algn="ctr">
                <a:spcAft>
                  <a:spcPct val="0"/>
                </a:spcAft>
              </a:pPr>
              <a:t>62.1%</a:t>
            </a:fld>
            <a:endParaRPr lang="en-GB" sz="1200" dirty="0">
              <a:solidFill>
                <a:schemeClr val="bg1"/>
              </a:solidFill>
              <a:cs typeface="+mn-cs"/>
              <a:sym typeface="+mn-lt"/>
            </a:endParaRP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101FCC7B-EA91-4E19-8146-EDC9916BE40B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4349750" y="4333875"/>
            <a:ext cx="4699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8D9DB4EC-16A5-4B50-B909-995A552BDB88}" type="datetime'NEM''''''''''''''''''''''''''''O&#10;''''''2''''''0'''''''''">
              <a:rPr lang="en-GB" altLang="en-US" sz="1200" smtClean="0">
                <a:cs typeface="+mn-cs"/>
              </a:rPr>
              <a:pPr/>
              <a:t>NEMO
20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8E169E5-9E3A-486E-91EA-D27F150C60DC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5067300" y="2400300"/>
            <a:ext cx="474663" cy="18256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7183EF39-D8E5-40E1-90FD-A4AE3B5B01CC}" type="datetime'''''''7''''''''''4''''''''''''''''''.''''''5''''%'''''">
              <a:rPr lang="en-GB" altLang="en-US" sz="1200" smtClean="0">
                <a:solidFill>
                  <a:schemeClr val="bg1"/>
                </a:solidFill>
                <a:cs typeface="+mn-cs"/>
                <a:sym typeface="+mn-lt"/>
              </a:rPr>
              <a:pPr lvl="1" algn="ctr">
                <a:spcAft>
                  <a:spcPct val="0"/>
                </a:spcAft>
              </a:pPr>
              <a:t>74.5%</a:t>
            </a:fld>
            <a:endParaRPr lang="en-GB" sz="1200" dirty="0">
              <a:solidFill>
                <a:schemeClr val="bg1"/>
              </a:solidFill>
              <a:cs typeface="+mn-cs"/>
              <a:sym typeface="+mn-lt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AFC3DC3-D569-4C77-8A5D-1E00F50080DC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5067300" y="3833813"/>
            <a:ext cx="474663" cy="182563"/>
          </a:xfrm>
          <a:prstGeom prst="rect">
            <a:avLst/>
          </a:prstGeom>
          <a:solidFill>
            <a:srgbClr val="5FAB1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E7F15595-3186-4ACF-AF1B-FEE02B18A639}" type="datetime'''25''''''''''''''''''''''''.''''''''''1''%'''''''''''''''''">
              <a:rPr lang="en-GB" altLang="en-US" sz="1200" smtClean="0">
                <a:solidFill>
                  <a:schemeClr val="bg1"/>
                </a:solidFill>
                <a:cs typeface="+mn-cs"/>
                <a:sym typeface="+mn-lt"/>
              </a:rPr>
              <a:pPr lvl="1" algn="ctr">
                <a:spcAft>
                  <a:spcPct val="0"/>
                </a:spcAft>
              </a:pPr>
              <a:t>25.1%</a:t>
            </a:fld>
            <a:endParaRPr lang="en-GB" sz="1200" dirty="0">
              <a:solidFill>
                <a:schemeClr val="bg1"/>
              </a:solidFill>
              <a:cs typeface="+mn-cs"/>
              <a:sym typeface="+mn-lt"/>
            </a:endParaRPr>
          </a:p>
        </p:txBody>
      </p:sp>
      <p:sp>
        <p:nvSpPr>
          <p:cNvPr id="267" name="Rectangle 266">
            <a:extLst>
              <a:ext uri="{FF2B5EF4-FFF2-40B4-BE49-F238E27FC236}">
                <a16:creationId xmlns:a16="http://schemas.microsoft.com/office/drawing/2014/main" id="{817F822D-535E-4D5C-9E2E-89F2F3C3AD03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5045075" y="4333875"/>
            <a:ext cx="5191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03F0CFD7-29CB-4A99-B682-DB0B163E4AA2}" type="datetime'''''''''B''''r''''i''t''N''''''''''''''e''''''''''''''''d'''''">
              <a:rPr lang="en-GB" altLang="en-US" sz="1200" smtClean="0">
                <a:cs typeface="+mn-cs"/>
              </a:rPr>
              <a:pPr lvl="1" algn="ctr">
                <a:spcAft>
                  <a:spcPct val="0"/>
                </a:spcAft>
              </a:pPr>
              <a:t>BritNed</a:t>
            </a:fld>
            <a:endParaRPr lang="en-GB" sz="1200">
              <a:cs typeface="+mn-cs"/>
              <a:sym typeface="+mn-lt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1D11EC92-681A-45CD-AE6B-3329AE32D9FE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2192338" y="2433638"/>
            <a:ext cx="474663" cy="18256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2F0DAED7-30F7-438F-BB78-5029625F5E4A}" type="datetime'''''''''7''6''''''''.''''8''''%'">
              <a:rPr lang="en-GB" altLang="en-US" sz="1200" smtClean="0">
                <a:solidFill>
                  <a:schemeClr val="bg1"/>
                </a:solidFill>
                <a:cs typeface="+mn-cs"/>
                <a:sym typeface="+mn-lt"/>
              </a:rPr>
              <a:pPr lvl="1" algn="ctr">
                <a:spcAft>
                  <a:spcPct val="0"/>
                </a:spcAft>
              </a:pPr>
              <a:t>76.8%</a:t>
            </a:fld>
            <a:endParaRPr lang="en-GB" sz="1200" dirty="0">
              <a:solidFill>
                <a:schemeClr val="bg1"/>
              </a:solidFill>
              <a:cs typeface="+mn-cs"/>
              <a:sym typeface="+mn-lt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3D5C6833-64B4-42C6-AA00-F06549238BCF}"/>
              </a:ext>
            </a:extLst>
          </p:cNvPr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1473200" y="1778000"/>
            <a:ext cx="474663" cy="18256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F543991E-9E3F-411E-A359-A7A5DB75856E}" type="datetime'''3''''''''''''0.9%'''''''''''''''''''">
              <a:rPr lang="en-GB" altLang="en-US" sz="1200" smtClean="0">
                <a:solidFill>
                  <a:schemeClr val="bg1"/>
                </a:solidFill>
                <a:cs typeface="+mn-cs"/>
                <a:sym typeface="+mn-lt"/>
              </a:rPr>
              <a:pPr lvl="1" algn="ctr">
                <a:spcAft>
                  <a:spcPct val="0"/>
                </a:spcAft>
              </a:pPr>
              <a:t>30.9%</a:t>
            </a:fld>
            <a:endParaRPr lang="en-GB" sz="1200" dirty="0">
              <a:solidFill>
                <a:schemeClr val="bg1"/>
              </a:solidFill>
              <a:cs typeface="+mn-cs"/>
              <a:sym typeface="+mn-lt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AEC776F-DAF8-44F5-9095-8A39F26D1F17}"/>
              </a:ext>
            </a:extLst>
          </p:cNvPr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1514475" y="2284413"/>
            <a:ext cx="390525" cy="182563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5CCEEDCB-4FEF-4328-8F77-D33903B8947B}" type="datetime'4''''''.''''6''''''''''%'''''''''''''''''''''''''''''''">
              <a:rPr lang="en-GB" altLang="en-US" sz="1200" smtClean="0">
                <a:solidFill>
                  <a:schemeClr val="bg1"/>
                </a:solidFill>
                <a:cs typeface="+mn-cs"/>
                <a:sym typeface="+mn-lt"/>
              </a:rPr>
              <a:pPr lvl="1" algn="ctr">
                <a:spcAft>
                  <a:spcPct val="0"/>
                </a:spcAft>
              </a:pPr>
              <a:t>4.6%</a:t>
            </a:fld>
            <a:endParaRPr lang="en-GB" sz="1200" dirty="0">
              <a:solidFill>
                <a:schemeClr val="bg1"/>
              </a:solidFill>
              <a:cs typeface="+mn-cs"/>
              <a:sym typeface="+mn-lt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499A194C-5714-4579-B8DA-5D10A9FC3967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5108575" y="3470275"/>
            <a:ext cx="390525" cy="182563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BAAF6D7D-6C51-4AC1-B742-B8714DC9F124}" type="datetime'''''''''''''''''''''''0''''''.4''''''''''''''''''''''''''%'">
              <a:rPr lang="en-GB" altLang="en-US" sz="1200" smtClean="0">
                <a:solidFill>
                  <a:schemeClr val="bg1"/>
                </a:solidFill>
                <a:cs typeface="+mn-cs"/>
                <a:sym typeface="+mn-lt"/>
              </a:rPr>
              <a:pPr lvl="1" algn="ctr">
                <a:spcAft>
                  <a:spcPct val="0"/>
                </a:spcAft>
              </a:pPr>
              <a:t>0.4%</a:t>
            </a:fld>
            <a:endParaRPr lang="en-GB" sz="1200" dirty="0">
              <a:solidFill>
                <a:schemeClr val="bg1"/>
              </a:solidFill>
              <a:cs typeface="+mn-cs"/>
              <a:sym typeface="+mn-lt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85903AD8-316A-427F-A2AB-DF83E0DA33FC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4389438" y="2349500"/>
            <a:ext cx="390525" cy="182563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6EF5FD3D-759A-4A25-99D4-34EA7827E6F0}" type="datetime'''''''''''''''4''''''.''''''''''''''9''''''''%'''''''''">
              <a:rPr lang="en-GB" altLang="en-US" sz="1200" smtClean="0">
                <a:solidFill>
                  <a:schemeClr val="bg1"/>
                </a:solidFill>
                <a:cs typeface="+mn-cs"/>
                <a:sym typeface="+mn-lt"/>
              </a:rPr>
              <a:pPr lvl="1" algn="ctr">
                <a:spcAft>
                  <a:spcPct val="0"/>
                </a:spcAft>
              </a:pPr>
              <a:t>4.9%</a:t>
            </a:fld>
            <a:endParaRPr lang="en-GB" sz="1200" dirty="0">
              <a:solidFill>
                <a:schemeClr val="bg1"/>
              </a:solidFill>
              <a:cs typeface="+mn-cs"/>
              <a:sym typeface="+mn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972D311C-A7D2-4C5F-A6C0-75CD327C25D2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4348163" y="1808163"/>
            <a:ext cx="474663" cy="18256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 algn="ctr">
              <a:spcAft>
                <a:spcPct val="0"/>
              </a:spcAft>
            </a:pPr>
            <a:fld id="{A83F47A8-E78C-4D1B-8470-D30FEA9DEF06}" type="datetime'''''''''''''''33''''''''''''''''.''''0''''''''%'''''''">
              <a:rPr lang="en-GB" altLang="en-US" sz="1200" smtClean="0">
                <a:solidFill>
                  <a:schemeClr val="bg1"/>
                </a:solidFill>
                <a:cs typeface="+mn-cs"/>
                <a:sym typeface="+mn-lt"/>
              </a:rPr>
              <a:pPr lvl="1" algn="ctr">
                <a:spcAft>
                  <a:spcPct val="0"/>
                </a:spcAft>
              </a:pPr>
              <a:t>33.0%</a:t>
            </a:fld>
            <a:endParaRPr lang="en-GB" sz="1200" dirty="0">
              <a:solidFill>
                <a:schemeClr val="bg1"/>
              </a:solidFill>
              <a:cs typeface="+mn-cs"/>
              <a:sym typeface="+mn-lt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907AB513-AED2-427B-8C38-5F937952BBFD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6332538" y="2028825"/>
            <a:ext cx="250825" cy="187325"/>
          </a:xfrm>
          <a:prstGeom prst="rect">
            <a:avLst/>
          </a:prstGeom>
          <a:solidFill>
            <a:srgbClr val="5FAB1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GB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2DFEF5DF-0623-4675-9953-A809045FAD52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6332538" y="1765300"/>
            <a:ext cx="250825" cy="187325"/>
          </a:xfrm>
          <a:prstGeom prst="rect">
            <a:avLst/>
          </a:prstGeom>
          <a:solidFill>
            <a:srgbClr val="9696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GB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8EE59FF5-C89F-4190-A217-5BE14C5774D2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6332538" y="1501775"/>
            <a:ext cx="250825" cy="187325"/>
          </a:xfrm>
          <a:prstGeom prst="rect">
            <a:avLst/>
          </a:prstGeom>
          <a:solidFill>
            <a:srgbClr val="0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GB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2CB92F56-918D-4984-85E2-1DAEE7F0D7B0}"/>
              </a:ext>
            </a:extLst>
          </p:cNvPr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6634163" y="1497013"/>
            <a:ext cx="1022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9E6155B1-2243-4535-8411-3CCF48A0AE4F}" type="datetime'Fo''''''''s''''si''''''l ''''F''''''''''''''''''''uel''''''s'">
              <a:rPr lang="en-GB" altLang="en-US" sz="1400" b="1" smtClean="0">
                <a:solidFill>
                  <a:srgbClr val="000000"/>
                </a:solidFill>
                <a:cs typeface="+mn-cs"/>
                <a:sym typeface="+mn-lt"/>
              </a:rPr>
              <a:pPr lvl="1">
                <a:spcAft>
                  <a:spcPct val="0"/>
                </a:spcAft>
              </a:pPr>
              <a:t>Fossil Fuels</a:t>
            </a:fld>
            <a:endParaRPr lang="en-GB" sz="1400" b="1" dirty="0">
              <a:solidFill>
                <a:srgbClr val="000000"/>
              </a:solidFill>
              <a:cs typeface="+mn-cs"/>
              <a:sym typeface="+mn-lt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F4F5EE21-170B-408D-BEB0-20678D2753B5}"/>
              </a:ext>
            </a:extLst>
          </p:cNvPr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6634163" y="1760538"/>
            <a:ext cx="14890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35A53AE2-1080-4D08-89ED-855AAEC45611}" type="datetime'''''Bi''o''''''''''''ma''''''''s''''s &amp;'' Wa''s''te'''''''">
              <a:rPr lang="en-GB" altLang="en-US" sz="1400" b="1" smtClean="0">
                <a:solidFill>
                  <a:srgbClr val="969696"/>
                </a:solidFill>
                <a:cs typeface="+mn-cs"/>
                <a:sym typeface="+mn-lt"/>
              </a:rPr>
              <a:pPr lvl="1">
                <a:spcAft>
                  <a:spcPct val="0"/>
                </a:spcAft>
              </a:pPr>
              <a:t>Biomass &amp; Waste</a:t>
            </a:fld>
            <a:endParaRPr lang="en-GB" sz="1400" b="1">
              <a:solidFill>
                <a:srgbClr val="969696"/>
              </a:solidFill>
              <a:cs typeface="+mn-cs"/>
              <a:sym typeface="+mn-lt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2C2ED0E-41CB-4939-8DFC-9A2FA9CFA043}"/>
              </a:ext>
            </a:extLst>
          </p:cNvPr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6634163" y="2024063"/>
            <a:ext cx="10636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>
              <a:spcAft>
                <a:spcPct val="0"/>
              </a:spcAft>
            </a:pPr>
            <a:fld id="{AFB67378-A706-4389-A829-16D48AFF9B73}" type="datetime'''''''''''Z''''er''''o''''''-C''''''''a''''''rb''''''''on'''''">
              <a:rPr lang="en-GB" altLang="en-US" sz="1400" b="1" smtClean="0">
                <a:solidFill>
                  <a:srgbClr val="5FAB18"/>
                </a:solidFill>
                <a:cs typeface="+mn-cs"/>
                <a:sym typeface="+mn-lt"/>
              </a:rPr>
              <a:pPr lvl="1">
                <a:spcAft>
                  <a:spcPct val="0"/>
                </a:spcAft>
              </a:pPr>
              <a:t>Zero-Carbon</a:t>
            </a:fld>
            <a:endParaRPr lang="en-GB" sz="1400" b="1">
              <a:solidFill>
                <a:srgbClr val="5FAB18"/>
              </a:solidFill>
              <a:cs typeface="+mn-cs"/>
              <a:sym typeface="+mn-lt"/>
            </a:endParaRPr>
          </a:p>
        </p:txBody>
      </p:sp>
      <p:sp>
        <p:nvSpPr>
          <p:cNvPr id="31" name="Title 2">
            <a:extLst>
              <a:ext uri="{FF2B5EF4-FFF2-40B4-BE49-F238E27FC236}">
                <a16:creationId xmlns:a16="http://schemas.microsoft.com/office/drawing/2014/main" id="{492CEF56-AE26-498D-8E00-BB5D635CD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036" y="120871"/>
            <a:ext cx="8940963" cy="602235"/>
          </a:xfrm>
        </p:spPr>
        <p:txBody>
          <a:bodyPr/>
          <a:lstStyle/>
          <a:p>
            <a:r>
              <a:rPr lang="en-GB" sz="2000" dirty="0"/>
              <a:t>Example</a:t>
            </a:r>
            <a:r>
              <a:rPr lang="en-GB" sz="2000" b="0" dirty="0"/>
              <a:t> – Energy flows from interconnector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F3B13DC-DEA9-4728-9A7B-57E2C4C11B47}"/>
              </a:ext>
            </a:extLst>
          </p:cNvPr>
          <p:cNvSpPr txBox="1"/>
          <p:nvPr/>
        </p:nvSpPr>
        <p:spPr bwMode="auto">
          <a:xfrm>
            <a:off x="6395018" y="594281"/>
            <a:ext cx="2535690" cy="55399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200" kern="0" dirty="0">
                <a:solidFill>
                  <a:schemeClr val="tx1"/>
                </a:solidFill>
                <a:latin typeface="+mn-lt"/>
                <a:ea typeface="+mn-ea"/>
              </a:rPr>
              <a:t>Categorisation of interconnector energy sources as given in the data</a:t>
            </a:r>
          </a:p>
        </p:txBody>
      </p:sp>
      <p:graphicFrame>
        <p:nvGraphicFramePr>
          <p:cNvPr id="63" name="Table 18">
            <a:extLst>
              <a:ext uri="{FF2B5EF4-FFF2-40B4-BE49-F238E27FC236}">
                <a16:creationId xmlns:a16="http://schemas.microsoft.com/office/drawing/2014/main" id="{22D7FC17-CF8C-4610-9568-47414B68E0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3864386"/>
              </p:ext>
            </p:extLst>
          </p:nvPr>
        </p:nvGraphicFramePr>
        <p:xfrm>
          <a:off x="5878002" y="3388803"/>
          <a:ext cx="3001395" cy="6834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0465">
                  <a:extLst>
                    <a:ext uri="{9D8B030D-6E8A-4147-A177-3AD203B41FA5}">
                      <a16:colId xmlns:a16="http://schemas.microsoft.com/office/drawing/2014/main" val="2712465042"/>
                    </a:ext>
                  </a:extLst>
                </a:gridCol>
                <a:gridCol w="1000465">
                  <a:extLst>
                    <a:ext uri="{9D8B030D-6E8A-4147-A177-3AD203B41FA5}">
                      <a16:colId xmlns:a16="http://schemas.microsoft.com/office/drawing/2014/main" val="4191284571"/>
                    </a:ext>
                  </a:extLst>
                </a:gridCol>
                <a:gridCol w="1000465">
                  <a:extLst>
                    <a:ext uri="{9D8B030D-6E8A-4147-A177-3AD203B41FA5}">
                      <a16:colId xmlns:a16="http://schemas.microsoft.com/office/drawing/2014/main" val="1044969170"/>
                    </a:ext>
                  </a:extLst>
                </a:gridCol>
              </a:tblGrid>
              <a:tr h="312601"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  <a:latin typeface="+mn-lt"/>
                        </a:rPr>
                        <a:t>IF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AB1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  <a:latin typeface="+mn-lt"/>
                        </a:rPr>
                        <a:t>NEMO</a:t>
                      </a: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AB1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  <a:latin typeface="+mn-lt"/>
                        </a:rPr>
                        <a:t>BRITNED</a:t>
                      </a: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AB1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5713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0.76 </a:t>
                      </a:r>
                      <a:r>
                        <a:rPr lang="en-GB" sz="1100" b="0" i="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TCO2e </a:t>
                      </a:r>
                      <a:endParaRPr lang="en-GB" sz="1100" b="0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0.36 </a:t>
                      </a:r>
                      <a:r>
                        <a:rPr lang="en-GB" sz="1100" b="0" i="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TCO2e </a:t>
                      </a:r>
                      <a:endParaRPr lang="en-GB" sz="1100" b="0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-0.13 </a:t>
                      </a:r>
                      <a:r>
                        <a:rPr lang="en-GB" sz="1100" b="0" i="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TCO2e </a:t>
                      </a:r>
                      <a:endParaRPr lang="en-GB" sz="1100" b="0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4346911"/>
                  </a:ext>
                </a:extLst>
              </a:tr>
            </a:tbl>
          </a:graphicData>
        </a:graphic>
      </p:graphicFrame>
      <p:sp>
        <p:nvSpPr>
          <p:cNvPr id="65" name="TextBox 64">
            <a:extLst>
              <a:ext uri="{FF2B5EF4-FFF2-40B4-BE49-F238E27FC236}">
                <a16:creationId xmlns:a16="http://schemas.microsoft.com/office/drawing/2014/main" id="{946BEFC3-3AD1-4DE6-9D01-C1D84586BD3A}"/>
              </a:ext>
            </a:extLst>
          </p:cNvPr>
          <p:cNvSpPr txBox="1"/>
          <p:nvPr/>
        </p:nvSpPr>
        <p:spPr bwMode="auto">
          <a:xfrm>
            <a:off x="5664635" y="2857921"/>
            <a:ext cx="353074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 dirty="0">
                <a:solidFill>
                  <a:schemeClr val="tx1"/>
                </a:solidFill>
                <a:latin typeface="+mn-lt"/>
                <a:ea typeface="+mn-ea"/>
              </a:rPr>
              <a:t>Average Carbon savings from NGV ICs</a:t>
            </a:r>
          </a:p>
        </p:txBody>
      </p:sp>
    </p:spTree>
    <p:extLst>
      <p:ext uri="{BB962C8B-B14F-4D97-AF65-F5344CB8AC3E}">
        <p14:creationId xmlns:p14="http://schemas.microsoft.com/office/powerpoint/2010/main" val="37821363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E4E03C7-F5B2-4C38-87CE-2617DD885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9116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E4E03C7-F5B2-4C38-87CE-2617DD885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>
        <mc:Choice xmlns:a14="http://schemas.microsoft.com/office/drawing/2010/main" Requires="a14">
          <p:sp>
            <p:nvSpPr>
              <p:cNvPr id="2" name="Text Placeholder 1">
                <a:extLst>
                  <a:ext uri="{FF2B5EF4-FFF2-40B4-BE49-F238E27FC236}">
                    <a16:creationId xmlns:a16="http://schemas.microsoft.com/office/drawing/2014/main" id="{734F69A9-6D57-43A5-8AEE-60CAFD994846}"/>
                  </a:ext>
                </a:extLst>
              </p:cNvPr>
              <p:cNvSpPr>
                <a:spLocks noGrp="1"/>
              </p:cNvSpPr>
              <p:nvPr>
                <p:ph type="body" sz="quarter" idx="16"/>
              </p:nvPr>
            </p:nvSpPr>
            <p:spPr>
              <a:xfrm>
                <a:off x="93542" y="888307"/>
                <a:ext cx="4478458" cy="1419556"/>
              </a:xfrm>
            </p:spPr>
            <p:txBody>
              <a:bodyPr/>
              <a:lstStyle/>
              <a:p>
                <a:r>
                  <a:rPr lang="en-GB" sz="1600" dirty="0">
                    <a:solidFill>
                      <a:srgbClr val="00B050"/>
                    </a:solidFill>
                  </a:rPr>
                  <a:t>Share of Zero Carbon energy consumed in each hour in a country:</a:t>
                </a:r>
              </a:p>
              <a:p>
                <a:endParaRPr lang="en-GB" dirty="0"/>
              </a:p>
              <a:p>
                <a:pPr algn="ctr"/>
                <a14:m>
                  <m:oMath xmlns:m="http://schemas.openxmlformats.org/officeDocument/2006/math">
                    <m:f>
                      <m:fPr>
                        <m:ctrlPr>
                          <a:rPr lang="en-GB" sz="1400" b="1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GB" sz="1400" b="1" i="1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𝑻𝒐𝒕𝒂𝒍</m:t>
                        </m:r>
                        <m:r>
                          <a:rPr lang="en-GB" sz="1400" b="1" i="1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sz="1400" b="1" i="1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𝒁𝒆𝒓𝒐</m:t>
                        </m:r>
                        <m:r>
                          <a:rPr lang="en-GB" sz="1400" b="1" i="1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sz="1400" b="1" i="1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𝑪𝒂𝒓𝒃𝒐𝒏</m:t>
                        </m:r>
                        <m:r>
                          <a:rPr lang="en-GB" sz="1400" b="1" i="1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sz="1400" b="1" i="1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𝒆𝒏𝒆𝒓𝒈𝒚</m:t>
                        </m:r>
                      </m:num>
                      <m:den>
                        <m:r>
                          <a:rPr lang="en-GB" sz="1400" b="1" i="1" smtClean="0">
                            <a:latin typeface="Cambria Math" panose="02040503050406030204" pitchFamily="18" charset="0"/>
                          </a:rPr>
                          <m:t>𝑻𝒐𝒕𝒂𝒍</m:t>
                        </m:r>
                        <m:r>
                          <a:rPr lang="en-GB" sz="1400" b="1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sz="1400" b="1" i="1" smtClean="0">
                            <a:latin typeface="Cambria Math" panose="02040503050406030204" pitchFamily="18" charset="0"/>
                          </a:rPr>
                          <m:t>𝒆𝒏𝒆𝒓𝒈𝒚</m:t>
                        </m:r>
                        <m:r>
                          <a:rPr lang="en-GB" sz="1400" b="1" i="1" smtClean="0">
                            <a:latin typeface="Cambria Math" panose="02040503050406030204" pitchFamily="18" charset="0"/>
                          </a:rPr>
                          <m:t> (</m:t>
                        </m:r>
                        <m:r>
                          <a:rPr lang="en-GB" sz="1400" b="1" i="1" smtClean="0">
                            <a:latin typeface="Cambria Math" panose="02040503050406030204" pitchFamily="18" charset="0"/>
                          </a:rPr>
                          <m:t>𝒔𝒖𝒎</m:t>
                        </m:r>
                        <m:r>
                          <a:rPr lang="en-GB" sz="1400" b="1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sz="1400" b="1" i="1" smtClean="0">
                            <a:latin typeface="Cambria Math" panose="02040503050406030204" pitchFamily="18" charset="0"/>
                          </a:rPr>
                          <m:t>𝒐𝒇</m:t>
                        </m:r>
                        <m:r>
                          <a:rPr lang="en-GB" sz="1400" b="1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sz="1400" b="1" i="1" smtClean="0">
                            <a:latin typeface="Cambria Math" panose="02040503050406030204" pitchFamily="18" charset="0"/>
                          </a:rPr>
                          <m:t>𝒂𝒍𝒍</m:t>
                        </m:r>
                        <m:r>
                          <a:rPr lang="en-GB" sz="1400" b="1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sz="1400" b="1" i="1" smtClean="0">
                            <a:latin typeface="Cambria Math" panose="02040503050406030204" pitchFamily="18" charset="0"/>
                          </a:rPr>
                          <m:t>𝒈𝒆𝒏𝒆𝒓𝒂𝒕𝒊𝒐𝒏</m:t>
                        </m:r>
                        <m:r>
                          <a:rPr lang="en-GB" sz="1400" b="1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sz="1400" b="1" i="1" smtClean="0">
                            <a:latin typeface="Cambria Math" panose="02040503050406030204" pitchFamily="18" charset="0"/>
                          </a:rPr>
                          <m:t>𝒊𝒏𝒄𝒍𝒖𝒅𝒊𝒏𝒈</m:t>
                        </m:r>
                        <m:r>
                          <a:rPr lang="en-GB" sz="1400" b="1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sz="1400" b="1" i="1" smtClean="0">
                            <a:latin typeface="Cambria Math" panose="02040503050406030204" pitchFamily="18" charset="0"/>
                          </a:rPr>
                          <m:t>𝑰𝑪</m:t>
                        </m:r>
                        <m:r>
                          <a:rPr lang="en-GB" sz="1400" b="1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sz="1400" b="1" i="1" smtClean="0">
                            <a:latin typeface="Cambria Math" panose="02040503050406030204" pitchFamily="18" charset="0"/>
                          </a:rPr>
                          <m:t>𝒇𝒍𝒐𝒘𝒔</m:t>
                        </m:r>
                        <m:r>
                          <a:rPr lang="en-GB" sz="1400" b="1" i="1" smtClean="0">
                            <a:latin typeface="Cambria Math" panose="02040503050406030204" pitchFamily="18" charset="0"/>
                          </a:rPr>
                          <m:t>)</m:t>
                        </m:r>
                      </m:den>
                    </m:f>
                  </m:oMath>
                </a14:m>
                <a:r>
                  <a:rPr lang="en-GB" sz="1400" dirty="0"/>
                  <a:t> </a:t>
                </a:r>
                <a:r>
                  <a:rPr lang="en-GB" dirty="0"/>
                  <a:t>x 100</a:t>
                </a:r>
              </a:p>
            </p:txBody>
          </p:sp>
        </mc:Choice>
        <mc:Fallback>
          <p:sp>
            <p:nvSpPr>
              <p:cNvPr id="2" name="Text Placeholder 1">
                <a:extLst>
                  <a:ext uri="{FF2B5EF4-FFF2-40B4-BE49-F238E27FC236}">
                    <a16:creationId xmlns:a16="http://schemas.microsoft.com/office/drawing/2014/main" id="{734F69A9-6D57-43A5-8AEE-60CAFD994846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6"/>
              </p:nvPr>
            </p:nvSpPr>
            <p:spPr>
              <a:xfrm>
                <a:off x="93542" y="888307"/>
                <a:ext cx="4478458" cy="1419556"/>
              </a:xfrm>
              <a:blipFill>
                <a:blip r:embed="rId6"/>
                <a:stretch>
                  <a:fillRect l="-2721" t="-4721" r="-272" b="-429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1BA53F46-3BAA-484F-BED1-D90B04B83C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883" y="170191"/>
            <a:ext cx="5544620" cy="430887"/>
          </a:xfrm>
        </p:spPr>
        <p:txBody>
          <a:bodyPr/>
          <a:lstStyle/>
          <a:p>
            <a:r>
              <a:rPr lang="en-GB" dirty="0"/>
              <a:t>Formulas*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91D4C0-8F38-49BC-97BD-177EA7F422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tabLst>
                <a:tab pos="989013" algn="l"/>
              </a:tabLst>
            </a:pPr>
            <a:r>
              <a:rPr lang="fr-FR" dirty="0"/>
              <a:t>| * To </a:t>
            </a:r>
            <a:r>
              <a:rPr lang="fr-FR" dirty="0" err="1"/>
              <a:t>be</a:t>
            </a:r>
            <a:r>
              <a:rPr lang="fr-FR" dirty="0"/>
              <a:t> </a:t>
            </a:r>
            <a:r>
              <a:rPr lang="fr-FR" dirty="0" err="1"/>
              <a:t>replicated</a:t>
            </a:r>
            <a:r>
              <a:rPr lang="fr-FR" dirty="0"/>
              <a:t> for </a:t>
            </a:r>
            <a:r>
              <a:rPr lang="fr-FR" dirty="0" err="1"/>
              <a:t>every</a:t>
            </a:r>
            <a:r>
              <a:rPr lang="fr-FR" dirty="0"/>
              <a:t> country, fuel type and IC flow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F72C5AB-DACF-4C7C-BCFF-A43779FBF1E2}"/>
              </a:ext>
            </a:extLst>
          </p:cNvPr>
          <p:cNvCxnSpPr/>
          <p:nvPr/>
        </p:nvCxnSpPr>
        <p:spPr bwMode="auto">
          <a:xfrm>
            <a:off x="4512527" y="614473"/>
            <a:ext cx="0" cy="412595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52318142-C4EE-4361-ACD8-3747FF6D7ED9}"/>
              </a:ext>
            </a:extLst>
          </p:cNvPr>
          <p:cNvSpPr txBox="1">
            <a:spLocks/>
          </p:cNvSpPr>
          <p:nvPr/>
        </p:nvSpPr>
        <p:spPr bwMode="auto">
          <a:xfrm>
            <a:off x="4631474" y="891951"/>
            <a:ext cx="4478458" cy="4308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r>
              <a:rPr lang="en-GB" sz="1600" dirty="0">
                <a:solidFill>
                  <a:srgbClr val="00B050"/>
                </a:solidFill>
              </a:rPr>
              <a:t>Hourly Carbon intensity of a country</a:t>
            </a:r>
            <a:r>
              <a:rPr lang="en-GB" sz="1600" b="0" dirty="0"/>
              <a:t>:</a:t>
            </a:r>
          </a:p>
          <a:p>
            <a:pPr algn="ctr"/>
            <a:endParaRPr lang="en-GB" i="1" dirty="0"/>
          </a:p>
          <a:p>
            <a:pPr algn="ctr"/>
            <a:r>
              <a:rPr lang="en-GB" sz="1400" b="0" i="1" dirty="0">
                <a:latin typeface="Cambria Math" panose="02040503050406030204" pitchFamily="18" charset="0"/>
                <a:ea typeface="Cambria Math" panose="02040503050406030204" pitchFamily="18" charset="0"/>
              </a:rPr>
              <a:t> Sum of (</a:t>
            </a:r>
            <a:r>
              <a:rPr lang="en-GB" sz="1400" i="1" dirty="0">
                <a:latin typeface="Cambria Math" panose="02040503050406030204" pitchFamily="18" charset="0"/>
                <a:ea typeface="Cambria Math" panose="02040503050406030204" pitchFamily="18" charset="0"/>
              </a:rPr>
              <a:t>Carbon Intensity/Index  of fuel </a:t>
            </a:r>
            <a:r>
              <a:rPr lang="en-GB" sz="1400" b="0" i="1" dirty="0">
                <a:latin typeface="Cambria Math" panose="02040503050406030204" pitchFamily="18" charset="0"/>
                <a:ea typeface="Cambria Math" panose="02040503050406030204" pitchFamily="18" charset="0"/>
              </a:rPr>
              <a:t>* fuel generation) in </a:t>
            </a:r>
            <a:r>
              <a:rPr lang="en-GB" sz="1400" i="1" dirty="0">
                <a:latin typeface="Cambria Math" panose="02040503050406030204" pitchFamily="18" charset="0"/>
                <a:ea typeface="Cambria Math" panose="02040503050406030204" pitchFamily="18" charset="0"/>
              </a:rPr>
              <a:t>gCO2/</a:t>
            </a:r>
            <a:r>
              <a:rPr lang="en-GB" sz="1400" i="1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KWh</a:t>
            </a:r>
            <a:endParaRPr lang="en-GB" sz="1400" i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algn="ctr"/>
            <a:endParaRPr lang="en-GB" sz="1400" b="0" i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r>
              <a:rPr lang="en-GB" sz="1600" dirty="0">
                <a:solidFill>
                  <a:srgbClr val="00B050"/>
                </a:solidFill>
                <a:ea typeface="Cambria Math" panose="02040503050406030204" pitchFamily="18" charset="0"/>
              </a:rPr>
              <a:t>Carbon savings from interconnectors:</a:t>
            </a:r>
          </a:p>
          <a:p>
            <a:pPr algn="ctr"/>
            <a:r>
              <a:rPr lang="en-GB" sz="1400" b="0" i="1" dirty="0">
                <a:latin typeface="Cambria Math" panose="02040503050406030204" pitchFamily="18" charset="0"/>
                <a:ea typeface="Cambria Math" panose="02040503050406030204" pitchFamily="18" charset="0"/>
              </a:rPr>
              <a:t>(Carbon intensity of  country A– Carbon intensity of country B)* flow from country B to country A in </a:t>
            </a:r>
            <a:r>
              <a:rPr lang="en-GB" sz="1400" i="1" dirty="0">
                <a:latin typeface="Cambria Math" panose="02040503050406030204" pitchFamily="18" charset="0"/>
                <a:ea typeface="Cambria Math" panose="02040503050406030204" pitchFamily="18" charset="0"/>
              </a:rPr>
              <a:t>mTCO2e</a:t>
            </a:r>
          </a:p>
          <a:p>
            <a:r>
              <a:rPr lang="en-GB" sz="1200" dirty="0">
                <a:solidFill>
                  <a:schemeClr val="accent3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Example: Carbon savings in GB from FR IC</a:t>
            </a:r>
          </a:p>
          <a:p>
            <a:pPr algn="ctr"/>
            <a:r>
              <a:rPr lang="en-GB" sz="1400" b="0" i="1" dirty="0">
                <a:latin typeface="Cambria Math" panose="02040503050406030204" pitchFamily="18" charset="0"/>
                <a:ea typeface="Cambria Math" panose="02040503050406030204" pitchFamily="18" charset="0"/>
              </a:rPr>
              <a:t>(Carbon intensity of GB - Carbon intensity of FR)* flow from FR to GB</a:t>
            </a:r>
          </a:p>
          <a:p>
            <a:pPr algn="ctr"/>
            <a:endParaRPr lang="en-GB" sz="1400" b="0" i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algn="ctr"/>
            <a:endParaRPr lang="en-GB" sz="1400" b="0" i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0C4EB191-F067-4FB1-986B-9E4A32B6DDA8}"/>
              </a:ext>
            </a:extLst>
          </p:cNvPr>
          <p:cNvSpPr txBox="1">
            <a:spLocks/>
          </p:cNvSpPr>
          <p:nvPr/>
        </p:nvSpPr>
        <p:spPr bwMode="auto">
          <a:xfrm>
            <a:off x="93542" y="3046387"/>
            <a:ext cx="4478458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r>
              <a:rPr lang="en-GB" sz="1600" dirty="0">
                <a:solidFill>
                  <a:srgbClr val="00B050"/>
                </a:solidFill>
              </a:rPr>
              <a:t>Share of Zero Carbon energy from IC flow:</a:t>
            </a:r>
          </a:p>
          <a:p>
            <a:pPr algn="ctr"/>
            <a:endParaRPr lang="en-GB" sz="1200" dirty="0"/>
          </a:p>
          <a:p>
            <a:pPr algn="ctr"/>
            <a:r>
              <a:rPr lang="en-GB" sz="1200" b="0" i="1" dirty="0">
                <a:latin typeface="Cambria Math" panose="02040503050406030204" pitchFamily="18" charset="0"/>
                <a:ea typeface="Cambria Math" panose="02040503050406030204" pitchFamily="18" charset="0"/>
              </a:rPr>
              <a:t>Share of ZC energy consumed in country of origin X IC flow</a:t>
            </a:r>
          </a:p>
        </p:txBody>
      </p:sp>
    </p:spTree>
    <p:extLst>
      <p:ext uri="{BB962C8B-B14F-4D97-AF65-F5344CB8AC3E}">
        <p14:creationId xmlns:p14="http://schemas.microsoft.com/office/powerpoint/2010/main" val="34927655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2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3&quot;&gt;&lt;elem m_fUsage=&quot;2.66447438576117967557E+00&quot;&gt;&lt;m_msothmcolidx val=&quot;0&quot;/&gt;&lt;m_rgb r=&quot;F7&quot; g=&quot;00&quot; b=&quot;00&quot;/&gt;&lt;/elem&gt;&lt;elem m_fUsage=&quot;1.45248113209464912998E+00&quot;&gt;&lt;m_msothmcolidx val=&quot;0&quot;/&gt;&lt;m_rgb r=&quot;A0&quot; g=&quot;E7&quot; b=&quot;41&quot;/&gt;&lt;/elem&gt;&lt;elem m_fUsage=&quot;1.09408964374687323051E+00&quot;&gt;&lt;m_msothmcolidx val=&quot;0&quot;/&gt;&lt;m_rgb r=&quot;C7&quot; g=&quot;1F&quot; b=&quot;AD&quot;/&gt;&lt;/elem&gt;&lt;elem m_fUsage=&quot;1.04384928176729951943E+00&quot;&gt;&lt;m_msothmcolidx val=&quot;0&quot;/&gt;&lt;m_rgb r=&quot;3C&quot; g=&quot;8F&quot; b=&quot;EC&quot;/&gt;&lt;/elem&gt;&lt;elem m_fUsage=&quot;1.01439550738251016426E+00&quot;&gt;&lt;m_msothmcolidx val=&quot;0&quot;/&gt;&lt;m_rgb r=&quot;49&quot; g=&quot;7D&quot; b=&quot;DE&quot;/&gt;&lt;/elem&gt;&lt;elem m_fUsage=&quot;1.00000000000000000000E+00&quot;&gt;&lt;m_msothmcolidx val=&quot;0&quot;/&gt;&lt;m_rgb r=&quot;1E&quot; g=&quot;88&quot; b=&quot;E5&quot;/&gt;&lt;/elem&gt;&lt;elem m_fUsage=&quot;5.96240132571000058803E-01&quot;&gt;&lt;m_msothmcolidx val=&quot;0&quot;/&gt;&lt;m_rgb r=&quot;9D&quot; g=&quot;D7&quot; b=&quot;51&quot;/&gt;&lt;/elem&gt;&lt;elem m_fUsage=&quot;5.82254517867831222766E-01&quot;&gt;&lt;m_msothmcolidx val=&quot;0&quot;/&gt;&lt;m_rgb r=&quot;42&quot; g=&quot;B3&quot; b=&quot;50&quot;/&gt;&lt;/elem&gt;&lt;elem m_fUsage=&quot;1.85576026672438026965E-01&quot;&gt;&lt;m_msothmcolidx val=&quot;0&quot;/&gt;&lt;m_rgb r=&quot;C3&quot; g=&quot;C8&quot; b=&quot;E4&quot;/&gt;&lt;/elem&gt;&lt;elem m_fUsage=&quot;1.66771816996665767086E-01&quot;&gt;&lt;m_msothmcolidx val=&quot;0&quot;/&gt;&lt;m_rgb r=&quot;91&quot; g=&quot;BA&quot; b=&quot;03&quot;/&gt;&lt;/elem&gt;&lt;elem m_fUsage=&quot;1.35372950687312615381E-01&quot;&gt;&lt;m_msothmcolidx val=&quot;0&quot;/&gt;&lt;m_rgb r=&quot;5F&quot; g=&quot;AB&quot; b=&quot;18&quot;/&gt;&lt;/elem&gt;&lt;elem m_fUsage=&quot;4.77974855815933574732E-02&quot;&gt;&lt;m_msothmcolidx val=&quot;0&quot;/&gt;&lt;m_rgb r=&quot;11&quot; g=&quot;2B&quot; b=&quot;42&quot;/&gt;&lt;/elem&gt;&lt;elem m_fUsage=&quot;1.32149949767206113804E-02&quot;&gt;&lt;m_msothmcolidx val=&quot;0&quot;/&gt;&lt;m_rgb r=&quot;5F&quot; g=&quot;D9&quot; b=&quot;0D&quot;/&gt;&lt;/elem&gt;&lt;elem m_fUsage=&quot;3.10208067348765898635E-03&quot;&gt;&lt;m_msothmcolidx val=&quot;0&quot;/&gt;&lt;m_rgb r=&quot;12&quot; g=&quot;09&quot; b=&quot;82&quot;/&gt;&lt;/elem&gt;&lt;elem m_fUsage=&quot;2.68086890063052240511E-04&quot;&gt;&lt;m_msothmcolidx val=&quot;0&quot;/&gt;&lt;m_rgb r=&quot;F8&quot; g=&quot;03&quot; b=&quot;03&quot;/&gt;&lt;/elem&gt;&lt;elem m_fUsage=&quot;9.07800711272461097493E-05&quot;&gt;&lt;m_msothmcolidx val=&quot;0&quot;/&gt;&lt;m_rgb r=&quot;FF&quot; g=&quot;91&quot; b=&quot;E9&quot;/&gt;&lt;/elem&gt;&lt;elem m_fUsage=&quot;6.07639609664772629521E-06&quot;&gt;&lt;m_msothmcolidx val=&quot;0&quot;/&gt;&lt;m_rgb r=&quot;F9&quot; g=&quot;F3&quot; b=&quot;84&quot;/&gt;&lt;/elem&gt;&lt;elem m_fUsage=&quot;5.52201069077754008859E-06&quot;&gt;&lt;m_msothmcolidx val=&quot;0&quot;/&gt;&lt;m_rgb r=&quot;F1&quot; g=&quot;AE&quot; b=&quot;54&quot;/&gt;&lt;/elem&gt;&lt;elem m_fUsage=&quot;4.02554579357682713794E-06&quot;&gt;&lt;m_msothmcolidx val=&quot;0&quot;/&gt;&lt;m_rgb r=&quot;AA&quot; g=&quot;FF&quot; b=&quot;FB&quot;/&gt;&lt;/elem&gt;&lt;elem m_fUsage=&quot;3.27698430974517497850E-06&quot;&gt;&lt;m_msothmcolidx val=&quot;0&quot;/&gt;&lt;m_rgb r=&quot;7D&quot; g=&quot;F2&quot; b=&quot;2F&quot;/&gt;&lt;/elem&gt;&lt;elem m_fUsage=&quot;1.01337161782938879136E-06&quot;&gt;&lt;m_msothmcolidx val=&quot;0&quot;/&gt;&lt;m_rgb r=&quot;DB&quot; g=&quot;58&quot; b=&quot;2D&quot;/&gt;&lt;/elem&gt;&lt;elem m_fUsage=&quot;6.60059939363855906044E-07&quot;&gt;&lt;m_msothmcolidx val=&quot;0&quot;/&gt;&lt;m_rgb r=&quot;BA&quot; g=&quot;F9&quot; b=&quot;91&quot;/&gt;&lt;/elem&gt;&lt;elem m_fUsage=&quot;3.96424036292209560081E-07&quot;&gt;&lt;m_msothmcolidx val=&quot;0&quot;/&gt;&lt;m_rgb r=&quot;E4&quot; g=&quot;E6&quot; b=&quot;E7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vHlEumpRsaIGfGl3tEX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7O.mZiRKiNz84tDE9UM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CnFRtUZZUvMwNzytZia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l3W_3i2ORyrCISxpVJ_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eoSNgPFoE21dZZZ29q.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o449K_zzKbwe_ajSwSY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7vuqRuXlv58c4ivB9xQ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52gGg1_cDk2WXaD.AhV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e.zyNrTTou0psXF5_4U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jeN0Fo2MqvCcE7MnrgJ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nNRY_g_lTKV6xg5kFaZ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COade_RXiDrUg2QKoNZ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iELV.W6Nx.viZkgBKlO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dnt49CXCDdzD26_GQ.X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XAPz24fny67A82O96X_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huri5.9rnVQh.vpsrNB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z9hh4g551Cx0dHBog4L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cdast5wKB49nXIy6H_c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OStHRZlpz.LhBo9Bpiq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Li3D2HgOwMBEu2dXwVk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Zsf._BUwnLwspYXMXkb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KoTlt2N3fZaB58SU0v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Zc9tY76rc1HCp7r_6va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db6oVnTM0wlc0KK7SPZ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2UxAE9ti7iqUa9znxwh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FpOmanNeSlzggja_lq_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YBNvcqjmVkOiNMWZgVN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2M0YlJa1uv8qMIW0m3_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p6qY.CupYoSUT5eYqsB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.Bk20dCfJwcC533Q1bu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h3H47RAXaKm6wKpaPNo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zjOxaARllfMcMydWOW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UazqcVUP73nfYMe7dn1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FZtuXVciZP5UDKiSUi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bVNyclrMy3tvhzwkVmW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19TqU.PB3uYWlbrWcD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ycJehHdjCwq5l.usa8m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JkQk1tCnvP_qkZVz9S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2gMycmVE22ek4HVc5o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vMAC4tIqtd33SvA_32s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KKZlUGifKIg4jFEjvwE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uNj4OnyaGPFxEkl0cH8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g7ZBJzOP8fzPa9_Vj3e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1fx24bGKowKd1dztu9M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78w5DLEka1Avb0ep1h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JTWct9b_2bdgQftc84E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KERqHy8_0qMkHpDWSnf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tEhrr_9jy.ifJBj9i8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r7fbMxfa490_bCMfb2s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u_zmr.n8RO2adueaqIF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D.kMXB5uUzaNQzkc95D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jDLKZGnk8m68vq1uSX6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EWgYVvjfEsHZAw0C_HS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R8QIzjVgTmIL8Pn_n02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vf6XvcA_S_xu2IQiUhZ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h32eMahu5BMHBD4.95k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HHTp8WBNm.45iQIvofk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cDTwdrG00p.moxxLBXM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EuhZkHGMFXaZQVpl4T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Hkn7sWDoYlYEJbVz6x6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19qZGJ7ZwaYifYpGPhW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f_NoJIr4Tbh2ZCm5DRB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n_BarZnMnmZNut14Bc.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4HgtXvMjQudJkENyroQ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W84vAYUnrRNvdkCYwKV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_wSzMbvcl4vmZs0jo6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Do.1htlhX0G9pDKefIb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9iz6vST.SnpLMD_buCz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q3F6U77uqmbVj5dwHA4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1IbqO.LuN8.0NL.a0XV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N5NmCJ.7JpDNGxJrdK9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7O.mZiRKiNz84tDE9UM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7O.mZiRKiNz84tDE9UM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IlxY42M90oIF9HioAJX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Rr7g5xb72WXAV6XxCH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tu7nzeTZOgPu1wC9CLc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fFxh8xsLR3ZkkZAzy68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WbbBuigd9eShBUVx6Q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BTVyRfKGAuXgaI_FNwx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_CPdjGpmZQXzxBKToTh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Y.qgey7EyGD7hsRXJdi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gvhgPE_bjapc__1OSla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RcFpGuc5DWv7JIjINJE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9GrV7rhIDghgw4byOLR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22yxUT_2SETqOHKpI4H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3CnuASewTWikLg7GAX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9NQXiDeXTGN5Vi3l.mE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bAHAqY.z8S36s5QjiEv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h8lrzZ9L2_SrEjanW8a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WyCVSCdmFE.8hcHVrDw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OpcIAson9mpzoc.hAFF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PcFqticHRT5k3PEU.nX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HA9yTbuAb8FJUlO8Hdd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Kw8gJBn4kLgesF7.HJ6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vSu.XiGlP4VxPjcA4ZX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wfGzvZ5z1..kCkevCk0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hlx8r9bZq_KFPs.hUar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NlYDehE9EI06y6AQeCy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NxvKOFUY0bS9GDi.mPI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Cxzay2turhK_D.txsNV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eSVEFdidOe7xUGW7AOd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WNaP0kZuNr4EZdroHtN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6vH7RKgxUP_vAabJwlv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S_rzViquq3ROLYEprzG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qSZdL0ljUEfeK4Q_dQA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cIPfioyJbLMLHhI2Iaf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QCvViK0nu69MoPL_Ud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Sz2iFjnQGN1IdCv8T6M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BUquXbjp8x1ACq.OZSX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CGH1ap8pHUsSBL.ZicY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dA9TbZlqMM7WieIXavG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7lJmUf44LC6AZG60vTQ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mvUk15ZvHfdzxd1NhDn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TV9KjfsPAygigTCUCiW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btgOQp6ErOzk440Cua7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UryJRP.T4kPwoqzPfjU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G_PPT_16x9_Generic_template-blue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4" id="{85AC2519-D6CF-4F26-9BCF-3D10C0290733}" vid="{CBAF9061-B6A7-4BBD-9B08-E2B4F8A48FC4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ee0118f-eb8b-4eae-9338-71acf2a082cc">
      <UserInfo>
        <DisplayName>Tempel, Ronny</DisplayName>
        <AccountId>41</AccountId>
        <AccountType/>
      </UserInfo>
      <UserInfo>
        <DisplayName>Pineda, Alejandro</DisplayName>
        <AccountId>65</AccountId>
        <AccountType/>
      </UserInfo>
      <UserInfo>
        <DisplayName>Rodrigues, Tiago</DisplayName>
        <AccountId>16</AccountId>
        <AccountType/>
      </UserInfo>
      <UserInfo>
        <DisplayName>Walker, Tracey</DisplayName>
        <AccountId>21</AccountId>
        <AccountType/>
      </UserInfo>
      <UserInfo>
        <DisplayName>Onwochei, Mayoma</DisplayName>
        <AccountId>43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3F591F60095E4E8F3535C9DB6FF438" ma:contentTypeVersion="11" ma:contentTypeDescription="Create a new document." ma:contentTypeScope="" ma:versionID="f341c9d2bc586148afa0be240a82c8ec">
  <xsd:schema xmlns:xsd="http://www.w3.org/2001/XMLSchema" xmlns:xs="http://www.w3.org/2001/XMLSchema" xmlns:p="http://schemas.microsoft.com/office/2006/metadata/properties" xmlns:ns2="3f3372dd-6bff-403a-af99-2af7db1ffb3b" xmlns:ns3="5ee0118f-eb8b-4eae-9338-71acf2a082cc" targetNamespace="http://schemas.microsoft.com/office/2006/metadata/properties" ma:root="true" ma:fieldsID="91491b3ca159136bf8fac7eded5f1665" ns2:_="" ns3:_="">
    <xsd:import namespace="3f3372dd-6bff-403a-af99-2af7db1ffb3b"/>
    <xsd:import namespace="5ee0118f-eb8b-4eae-9338-71acf2a082c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3372dd-6bff-403a-af99-2af7db1ffb3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e0118f-eb8b-4eae-9338-71acf2a082c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27981BB-C9C4-4F6E-98ED-EC634A133C6A}">
  <ds:schemaRefs>
    <ds:schemaRef ds:uri="3f3372dd-6bff-403a-af99-2af7db1ffb3b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5ee0118f-eb8b-4eae-9338-71acf2a082cc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A736E84-E752-49AB-AF1A-E3914B9CAA4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f3372dd-6bff-403a-af99-2af7db1ffb3b"/>
    <ds:schemaRef ds:uri="5ee0118f-eb8b-4eae-9338-71acf2a082c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14A8924-6F8F-4EF5-8510-DB9176D4ED5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G PowerPoint Template 16x9 2018</Template>
  <TotalTime>6128</TotalTime>
  <Words>928</Words>
  <Application>Microsoft Office PowerPoint</Application>
  <PresentationFormat>On-screen Show (16:9)</PresentationFormat>
  <Paragraphs>237</Paragraphs>
  <Slides>1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Calibri Light</vt:lpstr>
      <vt:lpstr>Cambria Math</vt:lpstr>
      <vt:lpstr>NG_PPT_16x9_Generic_template-blue</vt:lpstr>
      <vt:lpstr>Custom Design</vt:lpstr>
      <vt:lpstr>think-cell Slide</vt:lpstr>
      <vt:lpstr>GB &amp; EU Power Markets</vt:lpstr>
      <vt:lpstr>European Power Markets</vt:lpstr>
      <vt:lpstr>Gas remains the key price driver in GB as growth of RES continues</vt:lpstr>
      <vt:lpstr>How do Interconnector flows behave? Energy flows from countries with cheaper resources to countries with more expensive resources.</vt:lpstr>
      <vt:lpstr>How much carbon is emitted from generating power? </vt:lpstr>
      <vt:lpstr>Project Data &amp; Reporting Metrics</vt:lpstr>
      <vt:lpstr>PowerPoint Presentation</vt:lpstr>
      <vt:lpstr>Example – Energy flows from interconnectors</vt:lpstr>
      <vt:lpstr>Formulas*</vt:lpstr>
      <vt:lpstr>PowerPoint Presentation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uclear 2050 Outlook</dc:title>
  <dc:creator>peny.panagiota@nationalgrid.com</dc:creator>
  <cp:lastModifiedBy>Ayyash, Aciele</cp:lastModifiedBy>
  <cp:revision>141</cp:revision>
  <cp:lastPrinted>2019-08-14T08:54:14Z</cp:lastPrinted>
  <dcterms:created xsi:type="dcterms:W3CDTF">2018-10-19T16:52:46Z</dcterms:created>
  <dcterms:modified xsi:type="dcterms:W3CDTF">2021-04-16T12:5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E93F591F60095E4E8F3535C9DB6FF438</vt:lpwstr>
  </property>
</Properties>
</file>